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387.xml" ContentType="application/vnd.openxmlformats-officedocument.drawingml.chart+xml"/>
  <Override PartName="/ppt/charts/chart388.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389.xml" ContentType="application/vnd.openxmlformats-officedocument.drawingml.chart+xml"/>
  <Override PartName="/ppt/charts/chart390.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391.xml" ContentType="application/vnd.openxmlformats-officedocument.drawingml.chart+xml"/>
  <Override PartName="/ppt/charts/chart392.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395.xml" ContentType="application/vnd.openxmlformats-officedocument.drawingml.chart+xml"/>
  <Override PartName="/ppt/charts/chart396.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399.xml" ContentType="application/vnd.openxmlformats-officedocument.drawingml.chart+xml"/>
  <Override PartName="/ppt/charts/chart400.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403.xml" ContentType="application/vnd.openxmlformats-officedocument.drawingml.chart+xml"/>
  <Override PartName="/ppt/charts/chart404.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405.xml" ContentType="application/vnd.openxmlformats-officedocument.drawingml.chart+xml"/>
  <Override PartName="/ppt/charts/chart406.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407.xml" ContentType="application/vnd.openxmlformats-officedocument.drawingml.chart+xml"/>
  <Override PartName="/ppt/charts/chart408.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411.xml" ContentType="application/vnd.openxmlformats-officedocument.drawingml.chart+xml"/>
  <Override PartName="/ppt/charts/chart412.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413.xml" ContentType="application/vnd.openxmlformats-officedocument.drawingml.chart+xml"/>
  <Override PartName="/ppt/charts/chart414.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415.xml" ContentType="application/vnd.openxmlformats-officedocument.drawingml.chart+xml"/>
  <Override PartName="/ppt/charts/chart416.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419.xml" ContentType="application/vnd.openxmlformats-officedocument.drawingml.chart+xml"/>
  <Override PartName="/ppt/charts/chart420.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423.xml" ContentType="application/vnd.openxmlformats-officedocument.drawingml.chart+xml"/>
  <Override PartName="/ppt/charts/chart424.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427.xml" ContentType="application/vnd.openxmlformats-officedocument.drawingml.chart+xml"/>
  <Override PartName="/ppt/charts/chart428.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429.xml" ContentType="application/vnd.openxmlformats-officedocument.drawingml.chart+xml"/>
  <Override PartName="/ppt/charts/chart430.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431.xml" ContentType="application/vnd.openxmlformats-officedocument.drawingml.chart+xml"/>
  <Override PartName="/ppt/charts/chart432.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435.xml" ContentType="application/vnd.openxmlformats-officedocument.drawingml.chart+xml"/>
  <Override PartName="/ppt/charts/chart436.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437.xml" ContentType="application/vnd.openxmlformats-officedocument.drawingml.chart+xml"/>
  <Override PartName="/ppt/charts/chart438.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439.xml" ContentType="application/vnd.openxmlformats-officedocument.drawingml.chart+xml"/>
  <Override PartName="/ppt/charts/chart440.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443.xml" ContentType="application/vnd.openxmlformats-officedocument.drawingml.chart+xml"/>
  <Override PartName="/ppt/charts/chart444.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447.xml" ContentType="application/vnd.openxmlformats-officedocument.drawingml.chart+xml"/>
  <Override PartName="/ppt/charts/chart448.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451.xml" ContentType="application/vnd.openxmlformats-officedocument.drawingml.chart+xml"/>
  <Override PartName="/ppt/charts/chart452.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453.xml" ContentType="application/vnd.openxmlformats-officedocument.drawingml.chart+xml"/>
  <Override PartName="/ppt/charts/chart454.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455.xml" ContentType="application/vnd.openxmlformats-officedocument.drawingml.chart+xml"/>
  <Override PartName="/ppt/charts/chart456.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459.xml" ContentType="application/vnd.openxmlformats-officedocument.drawingml.chart+xml"/>
  <Override PartName="/ppt/charts/chart460.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461.xml" ContentType="application/vnd.openxmlformats-officedocument.drawingml.chart+xml"/>
  <Override PartName="/ppt/charts/chart462.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463.xml" ContentType="application/vnd.openxmlformats-officedocument.drawingml.chart+xml"/>
  <Override PartName="/ppt/charts/chart464.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467.xml" ContentType="application/vnd.openxmlformats-officedocument.drawingml.chart+xml"/>
  <Override PartName="/ppt/charts/chart468.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471.xml" ContentType="application/vnd.openxmlformats-officedocument.drawingml.chart+xml"/>
  <Override PartName="/ppt/charts/chart472.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475.xml" ContentType="application/vnd.openxmlformats-officedocument.drawingml.chart+xml"/>
  <Override PartName="/ppt/charts/chart476.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477.xml" ContentType="application/vnd.openxmlformats-officedocument.drawingml.chart+xml"/>
  <Override PartName="/ppt/charts/chart478.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479.xml" ContentType="application/vnd.openxmlformats-officedocument.drawingml.chart+xml"/>
  <Override PartName="/ppt/charts/chart480.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483.xml" ContentType="application/vnd.openxmlformats-officedocument.drawingml.chart+xml"/>
  <Override PartName="/ppt/charts/chart484.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485.xml" ContentType="application/vnd.openxmlformats-officedocument.drawingml.chart+xml"/>
  <Override PartName="/ppt/charts/chart486.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487.xml" ContentType="application/vnd.openxmlformats-officedocument.drawingml.chart+xml"/>
  <Override PartName="/ppt/charts/chart488.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491.xml" ContentType="application/vnd.openxmlformats-officedocument.drawingml.chart+xml"/>
  <Override PartName="/ppt/charts/chart492.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495.xml" ContentType="application/vnd.openxmlformats-officedocument.drawingml.chart+xml"/>
  <Override PartName="/ppt/charts/chart496.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499.xml" ContentType="application/vnd.openxmlformats-officedocument.drawingml.chart+xml"/>
  <Override PartName="/ppt/charts/chart500.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501.xml" ContentType="application/vnd.openxmlformats-officedocument.drawingml.chart+xml"/>
  <Override PartName="/ppt/charts/chart502.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503.xml" ContentType="application/vnd.openxmlformats-officedocument.drawingml.chart+xml"/>
  <Override PartName="/ppt/charts/chart504.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507.xml" ContentType="application/vnd.openxmlformats-officedocument.drawingml.chart+xml"/>
  <Override PartName="/ppt/charts/chart508.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509.xml" ContentType="application/vnd.openxmlformats-officedocument.drawingml.chart+xml"/>
  <Override PartName="/ppt/charts/chart510.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511.xml" ContentType="application/vnd.openxmlformats-officedocument.drawingml.chart+xml"/>
  <Override PartName="/ppt/charts/chart512.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515.xml" ContentType="application/vnd.openxmlformats-officedocument.drawingml.chart+xml"/>
  <Override PartName="/ppt/charts/chart516.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517.xml" ContentType="application/vnd.openxmlformats-officedocument.drawingml.chart+xml"/>
  <Override PartName="/ppt/charts/chart518.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519.xml" ContentType="application/vnd.openxmlformats-officedocument.drawingml.chart+xml"/>
  <Override PartName="/ppt/charts/chart520.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523.xml" ContentType="application/vnd.openxmlformats-officedocument.drawingml.chart+xml"/>
  <Override PartName="/ppt/charts/chart524.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525.xml" ContentType="application/vnd.openxmlformats-officedocument.drawingml.chart+xml"/>
  <Override PartName="/ppt/charts/chart526.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527.xml" ContentType="application/vnd.openxmlformats-officedocument.drawingml.chart+xml"/>
  <Override PartName="/ppt/charts/chart528.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531.xml" ContentType="application/vnd.openxmlformats-officedocument.drawingml.chart+xml"/>
  <Override PartName="/ppt/charts/chart532.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533.xml" ContentType="application/vnd.openxmlformats-officedocument.drawingml.chart+xml"/>
  <Override PartName="/ppt/charts/chart534.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535.xml" ContentType="application/vnd.openxmlformats-officedocument.drawingml.chart+xml"/>
  <Override PartName="/ppt/charts/chart536.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537.xml" ContentType="application/vnd.openxmlformats-officedocument.drawingml.chart+xml"/>
  <Override PartName="/ppt/charts/chart538.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539.xml" ContentType="application/vnd.openxmlformats-officedocument.drawingml.chart+xml"/>
  <Override PartName="/ppt/charts/chart540.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541.xml" ContentType="application/vnd.openxmlformats-officedocument.drawingml.chart+xml"/>
  <Override PartName="/ppt/charts/chart542.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543.xml" ContentType="application/vnd.openxmlformats-officedocument.drawingml.chart+xml"/>
  <Override PartName="/ppt/charts/chart544.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charts/chart545.xml" ContentType="application/vnd.openxmlformats-officedocument.drawingml.chart+xml"/>
  <Override PartName="/ppt/charts/chart546.xml" ContentType="application/vnd.openxmlformats-officedocument.drawingml.chart+xml"/>
  <Override PartName="/ppt/tags/tag205.xml" ContentType="application/vnd.openxmlformats-officedocument.presentationml.tags+xml"/>
  <Override PartName="/ppt/notesSlides/notesSlide178.xml" ContentType="application/vnd.openxmlformats-officedocument.presentationml.notesSlide+xml"/>
  <Override PartName="/ppt/charts/chart547.xml" ContentType="application/vnd.openxmlformats-officedocument.drawingml.chart+xml"/>
  <Override PartName="/ppt/charts/chart548.xml" ContentType="application/vnd.openxmlformats-officedocument.drawingml.chart+xml"/>
  <Override PartName="/ppt/tags/tag206.xml" ContentType="application/vnd.openxmlformats-officedocument.presentationml.tags+xml"/>
  <Override PartName="/ppt/notesSlides/notesSlide179.xml" ContentType="application/vnd.openxmlformats-officedocument.presentationml.notesSlide+xml"/>
  <Override PartName="/ppt/charts/chart549.xml" ContentType="application/vnd.openxmlformats-officedocument.drawingml.chart+xml"/>
  <Override PartName="/ppt/charts/chart550.xml" ContentType="application/vnd.openxmlformats-officedocument.drawingml.chart+xml"/>
  <Override PartName="/ppt/tags/tag207.xml" ContentType="application/vnd.openxmlformats-officedocument.presentationml.tags+xml"/>
  <Override PartName="/ppt/notesSlides/notesSlide180.xml" ContentType="application/vnd.openxmlformats-officedocument.presentationml.notesSlide+xml"/>
  <Override PartName="/ppt/charts/chart551.xml" ContentType="application/vnd.openxmlformats-officedocument.drawingml.chart+xml"/>
  <Override PartName="/ppt/charts/chart552.xml" ContentType="application/vnd.openxmlformats-officedocument.drawingml.chart+xml"/>
  <Override PartName="/ppt/tags/tag208.xml" ContentType="application/vnd.openxmlformats-officedocument.presentationml.tags+xml"/>
  <Override PartName="/ppt/notesSlides/notesSlide181.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tags/tag209.xml" ContentType="application/vnd.openxmlformats-officedocument.presentationml.tags+xml"/>
  <Override PartName="/ppt/notesSlides/notesSlide182.xml" ContentType="application/vnd.openxmlformats-officedocument.presentationml.notesSlide+xml"/>
  <Override PartName="/ppt/charts/chart555.xml" ContentType="application/vnd.openxmlformats-officedocument.drawingml.chart+xml"/>
  <Override PartName="/ppt/charts/chart556.xml" ContentType="application/vnd.openxmlformats-officedocument.drawingml.chart+xml"/>
  <Override PartName="/ppt/tags/tag210.xml" ContentType="application/vnd.openxmlformats-officedocument.presentationml.tags+xml"/>
  <Override PartName="/ppt/notesSlides/notesSlide183.xml" ContentType="application/vnd.openxmlformats-officedocument.presentationml.notesSlide+xml"/>
  <Override PartName="/ppt/charts/chart557.xml" ContentType="application/vnd.openxmlformats-officedocument.drawingml.chart+xml"/>
  <Override PartName="/ppt/charts/chart558.xml" ContentType="application/vnd.openxmlformats-officedocument.drawingml.chart+xml"/>
  <Override PartName="/ppt/tags/tag211.xml" ContentType="application/vnd.openxmlformats-officedocument.presentationml.tags+xml"/>
  <Override PartName="/ppt/notesSlides/notesSlide184.xml" ContentType="application/vnd.openxmlformats-officedocument.presentationml.notesSlide+xml"/>
  <Override PartName="/ppt/charts/chart559.xml" ContentType="application/vnd.openxmlformats-officedocument.drawingml.chart+xml"/>
  <Override PartName="/ppt/charts/chart560.xml" ContentType="application/vnd.openxmlformats-officedocument.drawingml.chart+xml"/>
  <Override PartName="/ppt/tags/tag212.xml" ContentType="application/vnd.openxmlformats-officedocument.presentationml.tags+xml"/>
  <Override PartName="/ppt/notesSlides/notesSlide185.xml" ContentType="application/vnd.openxmlformats-officedocument.presentationml.notesSlide+xml"/>
  <Override PartName="/ppt/charts/chart561.xml" ContentType="application/vnd.openxmlformats-officedocument.drawingml.chart+xml"/>
  <Override PartName="/ppt/charts/chart562.xml" ContentType="application/vnd.openxmlformats-officedocument.drawingml.chart+xml"/>
  <Override PartName="/ppt/tags/tag213.xml" ContentType="application/vnd.openxmlformats-officedocument.presentationml.tags+xml"/>
  <Override PartName="/ppt/notesSlides/notesSlide186.xml" ContentType="application/vnd.openxmlformats-officedocument.presentationml.notesSlide+xml"/>
  <Override PartName="/ppt/charts/chart563.xml" ContentType="application/vnd.openxmlformats-officedocument.drawingml.chart+xml"/>
  <Override PartName="/ppt/charts/chart564.xml" ContentType="application/vnd.openxmlformats-officedocument.drawingml.chart+xml"/>
  <Override PartName="/ppt/tags/tag214.xml" ContentType="application/vnd.openxmlformats-officedocument.presentationml.tags+xml"/>
  <Override PartName="/ppt/notesSlides/notesSlide187.xml" ContentType="application/vnd.openxmlformats-officedocument.presentationml.notesSlide+xml"/>
  <Override PartName="/ppt/charts/chart565.xml" ContentType="application/vnd.openxmlformats-officedocument.drawingml.chart+xml"/>
  <Override PartName="/ppt/charts/chart566.xml" ContentType="application/vnd.openxmlformats-officedocument.drawingml.chart+xml"/>
  <Override PartName="/ppt/tags/tag215.xml" ContentType="application/vnd.openxmlformats-officedocument.presentationml.tags+xml"/>
  <Override PartName="/ppt/notesSlides/notesSlide188.xml" ContentType="application/vnd.openxmlformats-officedocument.presentationml.notesSlide+xml"/>
  <Override PartName="/ppt/charts/chart567.xml" ContentType="application/vnd.openxmlformats-officedocument.drawingml.chart+xml"/>
  <Override PartName="/ppt/charts/chart568.xml" ContentType="application/vnd.openxmlformats-officedocument.drawingml.chart+xml"/>
  <Override PartName="/ppt/tags/tag216.xml" ContentType="application/vnd.openxmlformats-officedocument.presentationml.tags+xml"/>
  <Override PartName="/ppt/notesSlides/notesSlide189.xml" ContentType="application/vnd.openxmlformats-officedocument.presentationml.notesSlide+xml"/>
  <Override PartName="/ppt/charts/chart569.xml" ContentType="application/vnd.openxmlformats-officedocument.drawingml.chart+xml"/>
  <Override PartName="/ppt/charts/chart570.xml" ContentType="application/vnd.openxmlformats-officedocument.drawingml.chart+xml"/>
  <Override PartName="/ppt/tags/tag217.xml" ContentType="application/vnd.openxmlformats-officedocument.presentationml.tags+xml"/>
  <Override PartName="/ppt/notesSlides/notesSlide190.xml" ContentType="application/vnd.openxmlformats-officedocument.presentationml.notesSlide+xml"/>
  <Override PartName="/ppt/charts/chart571.xml" ContentType="application/vnd.openxmlformats-officedocument.drawingml.chart+xml"/>
  <Override PartName="/ppt/charts/chart572.xml" ContentType="application/vnd.openxmlformats-officedocument.drawingml.chart+xml"/>
  <Override PartName="/ppt/tags/tag218.xml" ContentType="application/vnd.openxmlformats-officedocument.presentationml.tags+xml"/>
  <Override PartName="/ppt/notesSlides/notesSlide191.xml" ContentType="application/vnd.openxmlformats-officedocument.presentationml.notesSlide+xml"/>
  <Override PartName="/ppt/charts/chart573.xml" ContentType="application/vnd.openxmlformats-officedocument.drawingml.chart+xml"/>
  <Override PartName="/ppt/charts/chart574.xml" ContentType="application/vnd.openxmlformats-officedocument.drawingml.chart+xml"/>
  <Override PartName="/ppt/tags/tag219.xml" ContentType="application/vnd.openxmlformats-officedocument.presentationml.tags+xml"/>
  <Override PartName="/ppt/notesSlides/notesSlide192.xml" ContentType="application/vnd.openxmlformats-officedocument.presentationml.notesSlide+xml"/>
  <Override PartName="/ppt/charts/chart575.xml" ContentType="application/vnd.openxmlformats-officedocument.drawingml.chart+xml"/>
  <Override PartName="/ppt/charts/chart57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97"/>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 id="2147475261" r:id="rId95"/>
    <p:sldId id="2147475262" r:id="rId96"/>
    <p:sldId id="2147475263" r:id="rId97"/>
    <p:sldId id="2147475264" r:id="rId98"/>
    <p:sldId id="2147475265" r:id="rId99"/>
    <p:sldId id="2147475266" r:id="rId100"/>
    <p:sldId id="2147475267" r:id="rId101"/>
    <p:sldId id="2147475268" r:id="rId102"/>
    <p:sldId id="2147475269" r:id="rId103"/>
    <p:sldId id="2147475270" r:id="rId104"/>
    <p:sldId id="2147475271" r:id="rId105"/>
    <p:sldId id="2147475272" r:id="rId106"/>
    <p:sldId id="2147475273" r:id="rId107"/>
    <p:sldId id="2147475274" r:id="rId108"/>
    <p:sldId id="2147475275" r:id="rId109"/>
    <p:sldId id="2147475276" r:id="rId110"/>
    <p:sldId id="2147475277" r:id="rId111"/>
    <p:sldId id="2147475278" r:id="rId112"/>
    <p:sldId id="2147475279" r:id="rId113"/>
    <p:sldId id="2147475280" r:id="rId114"/>
    <p:sldId id="2147475281" r:id="rId115"/>
    <p:sldId id="2147475282" r:id="rId116"/>
    <p:sldId id="2147475283" r:id="rId117"/>
    <p:sldId id="2147475284" r:id="rId118"/>
    <p:sldId id="2147475285" r:id="rId119"/>
    <p:sldId id="2147475286" r:id="rId120"/>
    <p:sldId id="2147475287" r:id="rId121"/>
    <p:sldId id="2147475288" r:id="rId122"/>
    <p:sldId id="2147475289" r:id="rId123"/>
    <p:sldId id="2147475290" r:id="rId124"/>
    <p:sldId id="2147475291" r:id="rId125"/>
    <p:sldId id="2147475292" r:id="rId126"/>
    <p:sldId id="2147475293" r:id="rId127"/>
    <p:sldId id="2147475294" r:id="rId128"/>
    <p:sldId id="2147475295" r:id="rId129"/>
    <p:sldId id="2147475296" r:id="rId130"/>
    <p:sldId id="2147475297" r:id="rId131"/>
    <p:sldId id="2147475298" r:id="rId132"/>
    <p:sldId id="2147475299" r:id="rId133"/>
    <p:sldId id="2147475300" r:id="rId134"/>
    <p:sldId id="2147475301" r:id="rId135"/>
    <p:sldId id="2147475302" r:id="rId136"/>
    <p:sldId id="2147475303" r:id="rId137"/>
    <p:sldId id="2147475304" r:id="rId138"/>
    <p:sldId id="2147475305" r:id="rId139"/>
    <p:sldId id="2147475306" r:id="rId140"/>
    <p:sldId id="2147475307" r:id="rId141"/>
    <p:sldId id="2147475308" r:id="rId142"/>
    <p:sldId id="2147475309" r:id="rId143"/>
    <p:sldId id="2147475310" r:id="rId144"/>
    <p:sldId id="2147475311" r:id="rId145"/>
    <p:sldId id="2147475312" r:id="rId146"/>
    <p:sldId id="2147475313" r:id="rId147"/>
    <p:sldId id="2147475314" r:id="rId148"/>
    <p:sldId id="2147475315" r:id="rId149"/>
    <p:sldId id="2147475316" r:id="rId150"/>
    <p:sldId id="2147475317" r:id="rId151"/>
    <p:sldId id="2147475318" r:id="rId152"/>
    <p:sldId id="2147475319" r:id="rId153"/>
    <p:sldId id="2147475320" r:id="rId154"/>
    <p:sldId id="2147475321" r:id="rId155"/>
    <p:sldId id="2147475322" r:id="rId156"/>
    <p:sldId id="2147475323" r:id="rId157"/>
    <p:sldId id="2147475324" r:id="rId158"/>
    <p:sldId id="2147475325" r:id="rId159"/>
    <p:sldId id="2147475326" r:id="rId160"/>
    <p:sldId id="2147475327" r:id="rId161"/>
    <p:sldId id="2147475328" r:id="rId162"/>
    <p:sldId id="2147475329" r:id="rId163"/>
    <p:sldId id="2147475330" r:id="rId164"/>
    <p:sldId id="2147475331" r:id="rId165"/>
    <p:sldId id="2147475332" r:id="rId166"/>
    <p:sldId id="2147475333" r:id="rId167"/>
    <p:sldId id="2147475334" r:id="rId168"/>
    <p:sldId id="2147475335" r:id="rId169"/>
    <p:sldId id="2147475336" r:id="rId170"/>
    <p:sldId id="2147475337" r:id="rId171"/>
    <p:sldId id="2147475338" r:id="rId172"/>
    <p:sldId id="2147475339" r:id="rId173"/>
    <p:sldId id="2147475340" r:id="rId174"/>
    <p:sldId id="2147475341" r:id="rId175"/>
    <p:sldId id="2147475342" r:id="rId176"/>
    <p:sldId id="2147475343" r:id="rId177"/>
    <p:sldId id="2147475344" r:id="rId178"/>
    <p:sldId id="2147475345" r:id="rId179"/>
    <p:sldId id="2147475346" r:id="rId180"/>
    <p:sldId id="2147475347" r:id="rId181"/>
    <p:sldId id="2147475348" r:id="rId182"/>
    <p:sldId id="2147475349" r:id="rId183"/>
    <p:sldId id="2147475350" r:id="rId184"/>
    <p:sldId id="2147475351" r:id="rId185"/>
    <p:sldId id="2147475352" r:id="rId186"/>
    <p:sldId id="2147475353" r:id="rId187"/>
    <p:sldId id="2147475354" r:id="rId188"/>
    <p:sldId id="2147475355" r:id="rId189"/>
    <p:sldId id="2147475356" r:id="rId190"/>
    <p:sldId id="2147475357" r:id="rId191"/>
    <p:sldId id="2147475358" r:id="rId192"/>
    <p:sldId id="2147475359" r:id="rId193"/>
    <p:sldId id="2147475360" r:id="rId194"/>
    <p:sldId id="2147475361" r:id="rId195"/>
    <p:sldId id="2147475362" r:id="rId1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By Category" id="{6E1FB0E4-B743-46BC-AED1-E432C8E03483}">
          <p14:sldIdLst>
            <p14:sldId id="2147475171"/>
            <p14:sldId id="2147475172"/>
            <p14:sldId id="2147475173"/>
            <p14:sldId id="2147475174"/>
            <p14:sldId id="2147475175"/>
            <p14:sldId id="2147475176"/>
          </p14:sldIdLst>
        </p14:section>
        <p14:section name="Brackets By Channel By Sector" id="{555D9DB0-5E20-4781-9A3B-32D147AA5EDF}">
          <p14:sldIdLst>
            <p14:sldId id="2147475177"/>
            <p14:sldId id="2147475178"/>
            <p14:sldId id="2147475179"/>
            <p14:sldId id="2147475180"/>
            <p14:sldId id="2147475181"/>
            <p14:sldId id="2147475182"/>
          </p14:sldIdLst>
        </p14:section>
        <p14:section name="Brackets By Channel By Segment" id="{98F66DA1-4B8B-4242-BFBB-4CD6BC79DE15}">
          <p14:sldIdLst>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Lst>
        </p14:section>
        <p14:section name="Brackets By AUTOS SCANNING By Category" id="{4DD2913A-A9DC-4D4D-B2FC-1141EFA807CD}">
          <p14:sldIdLst>
            <p14:sldId id="2147475267"/>
            <p14:sldId id="2147475268"/>
            <p14:sldId id="2147475269"/>
            <p14:sldId id="2147475270"/>
            <p14:sldId id="2147475271"/>
            <p14:sldId id="2147475272"/>
          </p14:sldIdLst>
        </p14:section>
        <p14:section name="Brackets By AUTOS SCANNING By Sector" id="{6962AC20-C735-4223-B1FE-A29F1D35A541}">
          <p14:sldIdLst>
            <p14:sldId id="2147475273"/>
            <p14:sldId id="2147475274"/>
            <p14:sldId id="2147475275"/>
            <p14:sldId id="2147475276"/>
            <p14:sldId id="2147475277"/>
            <p14:sldId id="2147475278"/>
          </p14:sldIdLst>
        </p14:section>
        <p14:section name="Brackets By AUTOS SCANNING By Segment" id="{E2E9D912-C016-43F0-9482-FE49BDA77C6A}">
          <p14:sldIdLst>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viewProps" Target="viewProps.xml"/><Relationship Id="rId203"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190" Type="http://schemas.openxmlformats.org/officeDocument/2006/relationships/slide" Target="slides/slide186.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theme" Target="theme/theme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notesMaster" Target="notesMasters/notesMaster1.xml"/><Relationship Id="rId201" Type="http://schemas.openxmlformats.org/officeDocument/2006/relationships/tableStyles" Target="tableStyle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presProps" Target="presProps.xml"/><Relationship Id="rId202" Type="http://schemas.microsoft.com/office/2015/10/relationships/revisionInfo" Target="revisionInfo.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17112325384537E-3</c:v>
                </c:pt>
                <c:pt idx="1">
                  <c:v>5.6571589283753885E-3</c:v>
                </c:pt>
                <c:pt idx="2">
                  <c:v>3.6280559236526018E-2</c:v>
                </c:pt>
                <c:pt idx="3">
                  <c:v>1.3032383738995429E-2</c:v>
                </c:pt>
                <c:pt idx="4">
                  <c:v>1.6872883359759557E-2</c:v>
                </c:pt>
                <c:pt idx="5">
                  <c:v>7.29289909136130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683274150275851</c:v>
                </c:pt>
                <c:pt idx="2">
                  <c:v>5.0645424368439759E-2</c:v>
                </c:pt>
                <c:pt idx="3">
                  <c:v>3.0875103045724266E-2</c:v>
                </c:pt>
                <c:pt idx="4">
                  <c:v>1.4460144552626257E-2</c:v>
                </c:pt>
                <c:pt idx="5">
                  <c:v>1.6208727819245348E-2</c:v>
                </c:pt>
                <c:pt idx="6">
                  <c:v>1.16342827480579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2487175043650502E-2</c:v>
                </c:pt>
                <c:pt idx="2">
                  <c:v>9.0230299506753944E-3</c:v>
                </c:pt>
                <c:pt idx="3">
                  <c:v>2.2387072369463093E-2</c:v>
                </c:pt>
                <c:pt idx="5">
                  <c:v>3.5900560701687692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9640650301431318E-2</c:v>
                </c:pt>
                <c:pt idx="2">
                  <c:v>1.3602829114983997E-2</c:v>
                </c:pt>
                <c:pt idx="3">
                  <c:v>0.49617556617358266</c:v>
                </c:pt>
                <c:pt idx="4">
                  <c:v>0.14453563173687603</c:v>
                </c:pt>
                <c:pt idx="5">
                  <c:v>0.22155790835362257</c:v>
                </c:pt>
                <c:pt idx="7">
                  <c:v>4.448741431950346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6.0774959197023859E-3</c:v>
                </c:pt>
                <c:pt idx="3">
                  <c:v>0.48469970991892264</c:v>
                </c:pt>
                <c:pt idx="4">
                  <c:v>0.32553010830134071</c:v>
                </c:pt>
                <c:pt idx="5">
                  <c:v>0.183692685860034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402078134440649E-3</c:v>
                </c:pt>
                <c:pt idx="1">
                  <c:v>5.7265694119279864E-3</c:v>
                </c:pt>
                <c:pt idx="2">
                  <c:v>3.805666643155646E-2</c:v>
                </c:pt>
                <c:pt idx="3">
                  <c:v>1.3975922051485914E-2</c:v>
                </c:pt>
                <c:pt idx="4">
                  <c:v>1.7366296151855289E-2</c:v>
                </c:pt>
                <c:pt idx="5">
                  <c:v>7.90486869485066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1545340410906379E-3</c:v>
                </c:pt>
                <c:pt idx="2">
                  <c:v>2.1018590380633254E-2</c:v>
                </c:pt>
                <c:pt idx="3">
                  <c:v>9.0027585051827754E-3</c:v>
                </c:pt>
                <c:pt idx="4">
                  <c:v>8.3857623325928853E-3</c:v>
                </c:pt>
                <c:pt idx="5">
                  <c:v>5.796766355320772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1631700392452216</c:v>
                </c:pt>
                <c:pt idx="3">
                  <c:v>0.20357644695987978</c:v>
                </c:pt>
                <c:pt idx="4">
                  <c:v>0.180106549115598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83416859590863</c:v>
                </c:pt>
                <c:pt idx="4">
                  <c:v>0.881658314040913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049379829794867E-2</c:v>
                </c:pt>
                <c:pt idx="3">
                  <c:v>1.5563015695094539E-2</c:v>
                </c:pt>
                <c:pt idx="4">
                  <c:v>8.4153764258805778E-3</c:v>
                </c:pt>
                <c:pt idx="5">
                  <c:v>1.14750852450039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6760232095399199</c:v>
                </c:pt>
                <c:pt idx="4">
                  <c:v>6.15256834217974E-4</c:v>
                </c:pt>
                <c:pt idx="5">
                  <c:v>0.3879015735317965</c:v>
                </c:pt>
                <c:pt idx="6">
                  <c:v>4.34642964487371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2746687544798746E-2</c:v>
                </c:pt>
                <c:pt idx="3">
                  <c:v>7.43311899295629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136401797186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4862802822451392E-2</c:v>
                </c:pt>
                <c:pt idx="3">
                  <c:v>8.242421941439809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565520534732885E-2</c:v>
                </c:pt>
                <c:pt idx="1">
                  <c:v>3.1154587334245542E-2</c:v>
                </c:pt>
                <c:pt idx="2">
                  <c:v>2.0807699774336056E-2</c:v>
                </c:pt>
                <c:pt idx="3">
                  <c:v>9.5495849975539601E-2</c:v>
                </c:pt>
                <c:pt idx="4">
                  <c:v>6.746877020851029E-2</c:v>
                </c:pt>
                <c:pt idx="5">
                  <c:v>2.4547715623997487E-2</c:v>
                </c:pt>
                <c:pt idx="6">
                  <c:v>0.59209743881773746</c:v>
                </c:pt>
                <c:pt idx="7">
                  <c:v>0.149862417730900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2.0806444921099052E-2</c:v>
                </c:pt>
                <c:pt idx="3">
                  <c:v>4.367085769456904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746588213473236E-2</c:v>
                </c:pt>
                <c:pt idx="2">
                  <c:v>7.4615019557361661E-2</c:v>
                </c:pt>
                <c:pt idx="3">
                  <c:v>6.2656183336380816E-2</c:v>
                </c:pt>
                <c:pt idx="4">
                  <c:v>0.38861810029344446</c:v>
                </c:pt>
                <c:pt idx="5">
                  <c:v>0.18140879638977883</c:v>
                </c:pt>
                <c:pt idx="6">
                  <c:v>0.25360618944662355</c:v>
                </c:pt>
                <c:pt idx="7">
                  <c:v>1.334912276293743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7.3076179840796229E-2</c:v>
                </c:pt>
                <c:pt idx="3">
                  <c:v>2.301596078538535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81395521216357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2.03640516858154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374617123771917E-3</c:v>
                </c:pt>
                <c:pt idx="6">
                  <c:v>0.86673981120718979</c:v>
                </c:pt>
                <c:pt idx="7">
                  <c:v>0.1311227270804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7301451869942767E-2</c:v>
                </c:pt>
                <c:pt idx="2">
                  <c:v>7.8708074862622428E-3</c:v>
                </c:pt>
                <c:pt idx="3">
                  <c:v>1.2287473677491291E-2</c:v>
                </c:pt>
                <c:pt idx="4">
                  <c:v>7.1739953034813345E-3</c:v>
                </c:pt>
                <c:pt idx="5">
                  <c:v>9.1523117157312137E-3</c:v>
                </c:pt>
                <c:pt idx="6">
                  <c:v>5.226649522516954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26493157224339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779246760967671</c:v>
                </c:pt>
                <c:pt idx="3">
                  <c:v>7.9615637598015876E-2</c:v>
                </c:pt>
                <c:pt idx="4">
                  <c:v>3.1656702081959961E-2</c:v>
                </c:pt>
                <c:pt idx="5">
                  <c:v>4.3978253671164189E-2</c:v>
                </c:pt>
                <c:pt idx="6">
                  <c:v>0.497733514900632</c:v>
                </c:pt>
                <c:pt idx="7">
                  <c:v>3.92234241385512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6154631728398134</c:v>
                </c:pt>
                <c:pt idx="3">
                  <c:v>1.3362064625268098E-2</c:v>
                </c:pt>
                <c:pt idx="4">
                  <c:v>0.625091618090750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999686719448667E-2</c:v>
                </c:pt>
                <c:pt idx="2">
                  <c:v>2.9947161467412886E-2</c:v>
                </c:pt>
                <c:pt idx="3">
                  <c:v>8.559274109821673E-3</c:v>
                </c:pt>
                <c:pt idx="4">
                  <c:v>3.939748857059025E-2</c:v>
                </c:pt>
                <c:pt idx="5">
                  <c:v>1.926922526180005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672797842506237E-2</c:v>
                </c:pt>
                <c:pt idx="2">
                  <c:v>3.1607958218261151E-2</c:v>
                </c:pt>
                <c:pt idx="3">
                  <c:v>8.6694999993999974E-3</c:v>
                </c:pt>
                <c:pt idx="4">
                  <c:v>4.0580169747638443E-2</c:v>
                </c:pt>
                <c:pt idx="5">
                  <c:v>2.037723578522528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3663694195172655E-2</c:v>
                </c:pt>
                <c:pt idx="2">
                  <c:v>3.1080831061917391E-2</c:v>
                </c:pt>
                <c:pt idx="3">
                  <c:v>1.4218955665862031E-3</c:v>
                </c:pt>
                <c:pt idx="4">
                  <c:v>4.372561120404974E-2</c:v>
                </c:pt>
                <c:pt idx="5">
                  <c:v>2.771095986877438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3243293102195291E-3</c:v>
                </c:pt>
                <c:pt idx="3">
                  <c:v>2.8177449319760215E-2</c:v>
                </c:pt>
                <c:pt idx="4">
                  <c:v>3.6226658393102382E-3</c:v>
                </c:pt>
                <c:pt idx="5">
                  <c:v>3.3772913021360332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5937276319629176</c:v>
                </c:pt>
                <c:pt idx="3">
                  <c:v>0.26326624808628329</c:v>
                </c:pt>
                <c:pt idx="4">
                  <c:v>0.2857518975520657</c:v>
                </c:pt>
                <c:pt idx="5">
                  <c:v>8.74181740118539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6127395927904273</c:v>
                </c:pt>
                <c:pt idx="3">
                  <c:v>0.26958461686735063</c:v>
                </c:pt>
                <c:pt idx="4">
                  <c:v>0.2732325337792928</c:v>
                </c:pt>
                <c:pt idx="5">
                  <c:v>9.02033300578709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9640650301431318E-2</c:v>
                </c:pt>
                <c:pt idx="2">
                  <c:v>1.3602829114983997E-2</c:v>
                </c:pt>
                <c:pt idx="3">
                  <c:v>0.49617556617358266</c:v>
                </c:pt>
                <c:pt idx="4">
                  <c:v>0.14453563173687603</c:v>
                </c:pt>
                <c:pt idx="5">
                  <c:v>0.22155790835362257</c:v>
                </c:pt>
                <c:pt idx="7">
                  <c:v>4.448741431950346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1.3602829114983997E-2</c:v>
                </c:pt>
                <c:pt idx="3">
                  <c:v>0.35620634575796428</c:v>
                </c:pt>
                <c:pt idx="4">
                  <c:v>0.13393632092409519</c:v>
                </c:pt>
                <c:pt idx="5">
                  <c:v>0.1039394199726558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6.0774959197023859E-3</c:v>
                </c:pt>
                <c:pt idx="3">
                  <c:v>0.48469970991892264</c:v>
                </c:pt>
                <c:pt idx="4">
                  <c:v>0.32553010830134071</c:v>
                </c:pt>
                <c:pt idx="5">
                  <c:v>0.183692685860034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6.0774959197023859E-3</c:v>
                </c:pt>
                <c:pt idx="3">
                  <c:v>0.343202587602503</c:v>
                </c:pt>
                <c:pt idx="4">
                  <c:v>0.32216675366896397</c:v>
                </c:pt>
                <c:pt idx="5">
                  <c:v>0.1836926858600342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6688246721985729E-2</c:v>
                </c:pt>
                <c:pt idx="4">
                  <c:v>4.34128146373840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167803048959378E-2</c:v>
                </c:pt>
                <c:pt idx="4">
                  <c:v>4.246034082903085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1631700392452216</c:v>
                </c:pt>
                <c:pt idx="3">
                  <c:v>0.20357644695987978</c:v>
                </c:pt>
                <c:pt idx="4">
                  <c:v>0.180106549115598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83416859590863</c:v>
                </c:pt>
                <c:pt idx="4">
                  <c:v>0.881658314040913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6760232095399199</c:v>
                </c:pt>
                <c:pt idx="4">
                  <c:v>6.15256834217974E-4</c:v>
                </c:pt>
                <c:pt idx="5">
                  <c:v>0.3879015735317965</c:v>
                </c:pt>
                <c:pt idx="6">
                  <c:v>4.34642964487371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565520534732885E-2</c:v>
                </c:pt>
                <c:pt idx="1">
                  <c:v>3.1154587334245542E-2</c:v>
                </c:pt>
                <c:pt idx="2">
                  <c:v>2.0807699774336056E-2</c:v>
                </c:pt>
                <c:pt idx="3">
                  <c:v>9.5495849975539601E-2</c:v>
                </c:pt>
                <c:pt idx="4">
                  <c:v>6.746877020851029E-2</c:v>
                </c:pt>
                <c:pt idx="5">
                  <c:v>2.4547715623997487E-2</c:v>
                </c:pt>
                <c:pt idx="6">
                  <c:v>0.59209743881773746</c:v>
                </c:pt>
                <c:pt idx="7">
                  <c:v>0.149862417730900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746588213473236E-2</c:v>
                </c:pt>
                <c:pt idx="2">
                  <c:v>7.4615019557361661E-2</c:v>
                </c:pt>
                <c:pt idx="3">
                  <c:v>6.2656183336380816E-2</c:v>
                </c:pt>
                <c:pt idx="4">
                  <c:v>0.38861810029344446</c:v>
                </c:pt>
                <c:pt idx="5">
                  <c:v>0.18140879638977883</c:v>
                </c:pt>
                <c:pt idx="6">
                  <c:v>0.25360618944662355</c:v>
                </c:pt>
                <c:pt idx="7">
                  <c:v>1.334912276293743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8808003131640968E-2</c:v>
                </c:pt>
                <c:pt idx="2">
                  <c:v>6.9915828971751394E-3</c:v>
                </c:pt>
                <c:pt idx="3">
                  <c:v>4.5216772688848779E-3</c:v>
                </c:pt>
                <c:pt idx="4">
                  <c:v>2.7321099495320172E-3</c:v>
                </c:pt>
                <c:pt idx="5">
                  <c:v>2.239691385443508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374617123771917E-3</c:v>
                </c:pt>
                <c:pt idx="6">
                  <c:v>0.86673981120718979</c:v>
                </c:pt>
                <c:pt idx="7">
                  <c:v>0.1311227270804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779246760967671</c:v>
                </c:pt>
                <c:pt idx="3">
                  <c:v>7.9615637598015876E-2</c:v>
                </c:pt>
                <c:pt idx="4">
                  <c:v>3.1656702081959961E-2</c:v>
                </c:pt>
                <c:pt idx="5">
                  <c:v>4.3978253671164189E-2</c:v>
                </c:pt>
                <c:pt idx="6">
                  <c:v>0.497733514900632</c:v>
                </c:pt>
                <c:pt idx="7">
                  <c:v>3.92234241385512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6154631728398134</c:v>
                </c:pt>
                <c:pt idx="3">
                  <c:v>1.3362064625268098E-2</c:v>
                </c:pt>
                <c:pt idx="4">
                  <c:v>0.625091618090750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2622065365639349E-2</c:v>
                </c:pt>
                <c:pt idx="2">
                  <c:v>1.9318403693915609E-3</c:v>
                </c:pt>
                <c:pt idx="3">
                  <c:v>4.7930961542006134E-3</c:v>
                </c:pt>
                <c:pt idx="4">
                  <c:v>2.187812609489373E-3</c:v>
                </c:pt>
                <c:pt idx="5">
                  <c:v>7.6863484690218933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939449575773618</c:v>
                </c:pt>
                <c:pt idx="6">
                  <c:v>0.70051087983695126</c:v>
                </c:pt>
                <c:pt idx="7">
                  <c:v>0.1799435057376109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9.7300505343577662E-4</c:v>
                </c:pt>
                <c:pt idx="6">
                  <c:v>1.49298304868738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0316625435654826E-3</c:v>
                </c:pt>
                <c:pt idx="6">
                  <c:v>1.579339246291892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843542169365008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9.5909989583508031E-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8877181781843355E-3</c:v>
                </c:pt>
                <c:pt idx="2">
                  <c:v>3.1979161180068515E-2</c:v>
                </c:pt>
                <c:pt idx="3">
                  <c:v>1.3563522541374452E-2</c:v>
                </c:pt>
                <c:pt idx="4">
                  <c:v>1.7560309271623414E-2</c:v>
                </c:pt>
                <c:pt idx="5">
                  <c:v>7.5901234339553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9640650301431318E-2</c:v>
                </c:pt>
                <c:pt idx="2">
                  <c:v>1.3602829114983997E-2</c:v>
                </c:pt>
                <c:pt idx="3">
                  <c:v>0.49617556617358266</c:v>
                </c:pt>
                <c:pt idx="4">
                  <c:v>0.14453563173687603</c:v>
                </c:pt>
                <c:pt idx="5">
                  <c:v>0.22155790835362257</c:v>
                </c:pt>
                <c:pt idx="7">
                  <c:v>4.448741431950346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6.0774959197023859E-3</c:v>
                </c:pt>
                <c:pt idx="3">
                  <c:v>0.48469970991892264</c:v>
                </c:pt>
                <c:pt idx="4">
                  <c:v>0.32553010830134071</c:v>
                </c:pt>
                <c:pt idx="5">
                  <c:v>0.183692685860034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9742953389195297E-3</c:v>
                </c:pt>
                <c:pt idx="2">
                  <c:v>3.335695792893343E-2</c:v>
                </c:pt>
                <c:pt idx="3">
                  <c:v>1.458050710000631E-2</c:v>
                </c:pt>
                <c:pt idx="4">
                  <c:v>1.8117288700616657E-2</c:v>
                </c:pt>
                <c:pt idx="5">
                  <c:v>8.24682576972684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33654206972485312</c:v>
                </c:pt>
                <c:pt idx="7">
                  <c:v>0.663457930275146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61631700392452216</c:v>
                </c:pt>
                <c:pt idx="3">
                  <c:v>0.20357644695987978</c:v>
                </c:pt>
                <c:pt idx="4">
                  <c:v>0.180106549115598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183416859590863</c:v>
                </c:pt>
                <c:pt idx="4">
                  <c:v>0.881658314040913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2776276506118799E-3</c:v>
                </c:pt>
                <c:pt idx="2">
                  <c:v>1.4288487828934361E-2</c:v>
                </c:pt>
                <c:pt idx="3">
                  <c:v>9.3540566765183669E-3</c:v>
                </c:pt>
                <c:pt idx="4">
                  <c:v>8.712526306472854E-3</c:v>
                </c:pt>
                <c:pt idx="5">
                  <c:v>6.022962961517810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7301451869942767E-2</c:v>
                </c:pt>
                <c:pt idx="2">
                  <c:v>7.8708074862622428E-3</c:v>
                </c:pt>
                <c:pt idx="3">
                  <c:v>1.2287473677491291E-2</c:v>
                </c:pt>
                <c:pt idx="4">
                  <c:v>7.1739953034813345E-3</c:v>
                </c:pt>
                <c:pt idx="5">
                  <c:v>9.1523117157312137E-3</c:v>
                </c:pt>
                <c:pt idx="6">
                  <c:v>5.226649522516954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931649153439911E-2</c:v>
                </c:pt>
                <c:pt idx="2">
                  <c:v>8.3183192111688526E-3</c:v>
                </c:pt>
                <c:pt idx="3">
                  <c:v>1.2539000070998637E-2</c:v>
                </c:pt>
                <c:pt idx="4">
                  <c:v>7.8476884751148834E-3</c:v>
                </c:pt>
                <c:pt idx="5">
                  <c:v>9.9108820224919816E-3</c:v>
                </c:pt>
                <c:pt idx="6">
                  <c:v>5.731436766533019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17112325384537E-3</c:v>
                </c:pt>
                <c:pt idx="1">
                  <c:v>5.6571589283753885E-3</c:v>
                </c:pt>
                <c:pt idx="2">
                  <c:v>3.6280559236526018E-2</c:v>
                </c:pt>
                <c:pt idx="3">
                  <c:v>1.3032383738995429E-2</c:v>
                </c:pt>
                <c:pt idx="4">
                  <c:v>1.6872883359759557E-2</c:v>
                </c:pt>
                <c:pt idx="5">
                  <c:v>7.29289909136130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402078134440649E-3</c:v>
                </c:pt>
                <c:pt idx="1">
                  <c:v>5.7265694119279864E-3</c:v>
                </c:pt>
                <c:pt idx="2">
                  <c:v>3.805666643155646E-2</c:v>
                </c:pt>
                <c:pt idx="3">
                  <c:v>1.3975922051485914E-2</c:v>
                </c:pt>
                <c:pt idx="4">
                  <c:v>1.7366296151855289E-2</c:v>
                </c:pt>
                <c:pt idx="5">
                  <c:v>7.90486869485066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136401797186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26493157224339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931649153439911E-2</c:v>
                </c:pt>
                <c:pt idx="2">
                  <c:v>8.3183192111688526E-3</c:v>
                </c:pt>
                <c:pt idx="3">
                  <c:v>1.2539000070998637E-2</c:v>
                </c:pt>
                <c:pt idx="4">
                  <c:v>7.8476884751148834E-3</c:v>
                </c:pt>
                <c:pt idx="5">
                  <c:v>9.9108820224919816E-3</c:v>
                </c:pt>
                <c:pt idx="6">
                  <c:v>5.731436766533019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836926852182174E-2</c:v>
                </c:pt>
                <c:pt idx="3">
                  <c:v>1.582352086464997E-2</c:v>
                </c:pt>
                <c:pt idx="4">
                  <c:v>8.5562391677582849E-3</c:v>
                </c:pt>
                <c:pt idx="5">
                  <c:v>1.166716363687720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8877181781843355E-3</c:v>
                </c:pt>
                <c:pt idx="2">
                  <c:v>3.1979161180068515E-2</c:v>
                </c:pt>
                <c:pt idx="3">
                  <c:v>1.3563522541374452E-2</c:v>
                </c:pt>
                <c:pt idx="4">
                  <c:v>1.7560309271623414E-2</c:v>
                </c:pt>
                <c:pt idx="5">
                  <c:v>7.5901234339553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9742953389195297E-3</c:v>
                </c:pt>
                <c:pt idx="2">
                  <c:v>3.335695792893343E-2</c:v>
                </c:pt>
                <c:pt idx="3">
                  <c:v>1.458050710000631E-2</c:v>
                </c:pt>
                <c:pt idx="4">
                  <c:v>1.8117288700616657E-2</c:v>
                </c:pt>
                <c:pt idx="5">
                  <c:v>8.24682576972684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1364620109288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40616939581945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4695281771010328E-2</c:v>
                </c:pt>
                <c:pt idx="4">
                  <c:v>9.05952305495513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1364620109288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67104569846787E-2</c:v>
                </c:pt>
                <c:pt idx="4">
                  <c:v>1.015734182200818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0.12233195285122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40616939581945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2746687544798746E-2</c:v>
                </c:pt>
                <c:pt idx="3">
                  <c:v>7.43311899295629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4862802822451392E-2</c:v>
                </c:pt>
                <c:pt idx="3">
                  <c:v>8.242421941439809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81395521216357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2.03640516858154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999686719448667E-2</c:v>
                </c:pt>
                <c:pt idx="2">
                  <c:v>2.9947161467412886E-2</c:v>
                </c:pt>
                <c:pt idx="3">
                  <c:v>8.559274109821673E-3</c:v>
                </c:pt>
                <c:pt idx="4">
                  <c:v>3.939748857059025E-2</c:v>
                </c:pt>
                <c:pt idx="5">
                  <c:v>1.926922526180005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672797842506237E-2</c:v>
                </c:pt>
                <c:pt idx="2">
                  <c:v>3.1607958218261151E-2</c:v>
                </c:pt>
                <c:pt idx="3">
                  <c:v>8.6694999993999974E-3</c:v>
                </c:pt>
                <c:pt idx="4">
                  <c:v>4.0580169747638443E-2</c:v>
                </c:pt>
                <c:pt idx="5">
                  <c:v>2.037723578522528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5937276319629176</c:v>
                </c:pt>
                <c:pt idx="3">
                  <c:v>0.26326624808628329</c:v>
                </c:pt>
                <c:pt idx="4">
                  <c:v>0.2857518975520657</c:v>
                </c:pt>
                <c:pt idx="5">
                  <c:v>8.74181740118539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0.16127395927904273</c:v>
                </c:pt>
                <c:pt idx="3">
                  <c:v>0.26958461686735063</c:v>
                </c:pt>
                <c:pt idx="4">
                  <c:v>0.2732325337792928</c:v>
                </c:pt>
                <c:pt idx="5">
                  <c:v>9.02033300578709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6688246721985729E-2</c:v>
                </c:pt>
                <c:pt idx="4">
                  <c:v>4.34128146373840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167803048959378E-2</c:v>
                </c:pt>
                <c:pt idx="4">
                  <c:v>4.246034082903085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3905881313946269</c:v>
                </c:pt>
                <c:pt idx="4">
                  <c:v>3.3838578447807618E-2</c:v>
                </c:pt>
                <c:pt idx="5">
                  <c:v>0.38389048752964255</c:v>
                </c:pt>
                <c:pt idx="6">
                  <c:v>4.2914548107363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4551350675809185</c:v>
                </c:pt>
                <c:pt idx="4">
                  <c:v>3.3851985548649627E-2</c:v>
                </c:pt>
                <c:pt idx="5">
                  <c:v>0.37681560046746754</c:v>
                </c:pt>
                <c:pt idx="6">
                  <c:v>4.35114148490160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56760232095399199</c:v>
                </c:pt>
                <c:pt idx="4">
                  <c:v>6.15256834217974E-4</c:v>
                </c:pt>
                <c:pt idx="5">
                  <c:v>0.3879015735317965</c:v>
                </c:pt>
                <c:pt idx="6">
                  <c:v>4.34642964487371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9.7300505343577662E-4</c:v>
                </c:pt>
                <c:pt idx="6">
                  <c:v>1.49298304868738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0316625435654826E-3</c:v>
                </c:pt>
                <c:pt idx="6">
                  <c:v>1.579339246291892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9085809022393447E-2</c:v>
                </c:pt>
                <c:pt idx="2">
                  <c:v>0.16142589971378771</c:v>
                </c:pt>
                <c:pt idx="3">
                  <c:v>0.3313283840250727</c:v>
                </c:pt>
                <c:pt idx="4">
                  <c:v>0.29014079678295185</c:v>
                </c:pt>
                <c:pt idx="5">
                  <c:v>0.16109879617618722</c:v>
                </c:pt>
                <c:pt idx="7">
                  <c:v>1.689935284358964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0386861322437809E-2</c:v>
                </c:pt>
                <c:pt idx="2">
                  <c:v>0.16341584790033742</c:v>
                </c:pt>
                <c:pt idx="3">
                  <c:v>0.33730774818217069</c:v>
                </c:pt>
                <c:pt idx="4">
                  <c:v>0.27779265914531437</c:v>
                </c:pt>
                <c:pt idx="5">
                  <c:v>0.16370524691502164</c:v>
                </c:pt>
                <c:pt idx="7">
                  <c:v>1.73697936445004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0923747628562824</c:v>
                </c:pt>
                <c:pt idx="7">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11206542484423936</c:v>
                </c:pt>
                <c:pt idx="7">
                  <c:v>0.887934575155760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2964997507222777</c:v>
                </c:pt>
                <c:pt idx="3">
                  <c:v>0.16538321937553646</c:v>
                </c:pt>
                <c:pt idx="4">
                  <c:v>0.304625970336401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660076256105738</c:v>
                </c:pt>
                <c:pt idx="3">
                  <c:v>0.16906284865058174</c:v>
                </c:pt>
                <c:pt idx="4">
                  <c:v>0.29398190282646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785648519070141E-4</c:v>
                </c:pt>
                <c:pt idx="1">
                  <c:v>3.3680168452992737E-2</c:v>
                </c:pt>
                <c:pt idx="2">
                  <c:v>6.7290090886708061E-3</c:v>
                </c:pt>
                <c:pt idx="3">
                  <c:v>4.4016255040906947E-3</c:v>
                </c:pt>
                <c:pt idx="4">
                  <c:v>2.6295747505043032E-3</c:v>
                </c:pt>
                <c:pt idx="5">
                  <c:v>2.155578201691105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3921041411156E-2</c:v>
                </c:pt>
                <c:pt idx="1">
                  <c:v>5.8382685048397255E-2</c:v>
                </c:pt>
                <c:pt idx="2">
                  <c:v>4.2762654076189038E-2</c:v>
                </c:pt>
                <c:pt idx="3">
                  <c:v>0.1264169865371495</c:v>
                </c:pt>
                <c:pt idx="4">
                  <c:v>0.12928428207127315</c:v>
                </c:pt>
                <c:pt idx="5">
                  <c:v>4.0757508244477582E-2</c:v>
                </c:pt>
                <c:pt idx="6">
                  <c:v>0.4564327896125312</c:v>
                </c:pt>
                <c:pt idx="7">
                  <c:v>0.13492388399587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4695281771010328E-2</c:v>
                </c:pt>
                <c:pt idx="4">
                  <c:v>9.05952305495513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45431854607736E-2</c:v>
                </c:pt>
                <c:pt idx="1">
                  <c:v>6.3201154352683656E-2</c:v>
                </c:pt>
                <c:pt idx="2">
                  <c:v>4.4865918688212519E-2</c:v>
                </c:pt>
                <c:pt idx="3">
                  <c:v>0.13539900498670862</c:v>
                </c:pt>
                <c:pt idx="4">
                  <c:v>0.10874069182968779</c:v>
                </c:pt>
                <c:pt idx="5">
                  <c:v>3.426159556801945E-2</c:v>
                </c:pt>
                <c:pt idx="6">
                  <c:v>0.45309152274273168</c:v>
                </c:pt>
                <c:pt idx="7">
                  <c:v>0.14809467997734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867104569846787E-2</c:v>
                </c:pt>
                <c:pt idx="4">
                  <c:v>1.015734182200818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565520534732885E-2</c:v>
                </c:pt>
                <c:pt idx="1">
                  <c:v>3.1154587334245542E-2</c:v>
                </c:pt>
                <c:pt idx="2">
                  <c:v>2.0807699774336056E-2</c:v>
                </c:pt>
                <c:pt idx="3">
                  <c:v>9.5495849975539601E-2</c:v>
                </c:pt>
                <c:pt idx="4">
                  <c:v>6.746877020851029E-2</c:v>
                </c:pt>
                <c:pt idx="5">
                  <c:v>2.4547715623997487E-2</c:v>
                </c:pt>
                <c:pt idx="6">
                  <c:v>0.59209743881773746</c:v>
                </c:pt>
                <c:pt idx="7">
                  <c:v>0.149862417730900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124204853302206E-2</c:v>
                </c:pt>
                <c:pt idx="3">
                  <c:v>5.5488008200088915E-4</c:v>
                </c:pt>
                <c:pt idx="4">
                  <c:v>1.574259842092408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5746588213473236E-2</c:v>
                </c:pt>
                <c:pt idx="2">
                  <c:v>7.4615019557361661E-2</c:v>
                </c:pt>
                <c:pt idx="3">
                  <c:v>6.2656183336380816E-2</c:v>
                </c:pt>
                <c:pt idx="4">
                  <c:v>0.38861810029344446</c:v>
                </c:pt>
                <c:pt idx="5">
                  <c:v>0.18140879638977883</c:v>
                </c:pt>
                <c:pt idx="6">
                  <c:v>0.25360618944662355</c:v>
                </c:pt>
                <c:pt idx="7">
                  <c:v>1.3349122762937439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0725307512713065E-2</c:v>
                </c:pt>
                <c:pt idx="4">
                  <c:v>3.3524111066667423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0.87766804714877344</c:v>
                </c:pt>
                <c:pt idx="7">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7">
                  <c:v>0.12233195285122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9782484273553414E-2</c:v>
                </c:pt>
                <c:pt idx="2">
                  <c:v>1.9000361706113351E-3</c:v>
                </c:pt>
                <c:pt idx="3">
                  <c:v>1.0826972869844109E-2</c:v>
                </c:pt>
                <c:pt idx="4">
                  <c:v>2.1517942985416626E-3</c:v>
                </c:pt>
                <c:pt idx="5">
                  <c:v>7.5598068776584985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595955698596936E-3</c:v>
                </c:pt>
                <c:pt idx="6">
                  <c:v>0.85986571777368759</c:v>
                </c:pt>
                <c:pt idx="7">
                  <c:v>0.13853832652771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7914516152751601E-3</c:v>
                </c:pt>
                <c:pt idx="6">
                  <c:v>0.84706314409287875</c:v>
                </c:pt>
                <c:pt idx="7">
                  <c:v>0.15114540429184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2.1374617123771917E-3</c:v>
                </c:pt>
                <c:pt idx="6">
                  <c:v>0.86673981120718979</c:v>
                </c:pt>
                <c:pt idx="7">
                  <c:v>0.1311227270804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826287370664063</c:v>
                </c:pt>
                <c:pt idx="3">
                  <c:v>0.20537048250134118</c:v>
                </c:pt>
                <c:pt idx="4">
                  <c:v>8.7855957238960766E-2</c:v>
                </c:pt>
                <c:pt idx="5">
                  <c:v>3.418151303154203E-2</c:v>
                </c:pt>
                <c:pt idx="6">
                  <c:v>0.39282710445220997</c:v>
                </c:pt>
                <c:pt idx="7">
                  <c:v>3.1348425159541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5284961810685025</c:v>
                </c:pt>
                <c:pt idx="3">
                  <c:v>0.21205170613682256</c:v>
                </c:pt>
                <c:pt idx="4">
                  <c:v>8.4744794889267283E-2</c:v>
                </c:pt>
                <c:pt idx="5">
                  <c:v>3.4526686415814967E-2</c:v>
                </c:pt>
                <c:pt idx="6">
                  <c:v>0.38494493738255919</c:v>
                </c:pt>
                <c:pt idx="7">
                  <c:v>3.071622854818827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779246760967671</c:v>
                </c:pt>
                <c:pt idx="3">
                  <c:v>7.9615637598015876E-2</c:v>
                </c:pt>
                <c:pt idx="4">
                  <c:v>3.1656702081959961E-2</c:v>
                </c:pt>
                <c:pt idx="5">
                  <c:v>4.3978253671164189E-2</c:v>
                </c:pt>
                <c:pt idx="6">
                  <c:v>0.497733514900632</c:v>
                </c:pt>
                <c:pt idx="7">
                  <c:v>3.92234241385512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6154631728398134</c:v>
                </c:pt>
                <c:pt idx="3">
                  <c:v>1.3362064625268098E-2</c:v>
                </c:pt>
                <c:pt idx="4">
                  <c:v>0.625091618090750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6726907533115</c:v>
                </c:pt>
                <c:pt idx="6">
                  <c:v>0.68527185187458561</c:v>
                </c:pt>
                <c:pt idx="7">
                  <c:v>0.172521812884237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0.14201595648663989</c:v>
                </c:pt>
                <c:pt idx="6">
                  <c:v>0.68346534154991856</c:v>
                </c:pt>
                <c:pt idx="7">
                  <c:v>0.17437787264433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notesSlide" Target="../notesSlides/notesSlide10.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5.xml"/><Relationship Id="rId11" Type="http://schemas.openxmlformats.org/officeDocument/2006/relationships/chart" Target="../charts/chart40.xml"/><Relationship Id="rId5" Type="http://schemas.openxmlformats.org/officeDocument/2006/relationships/image" Target="../media/image28.emf"/><Relationship Id="rId10" Type="http://schemas.openxmlformats.org/officeDocument/2006/relationships/chart" Target="../charts/chart39.xml"/><Relationship Id="rId4" Type="http://schemas.openxmlformats.org/officeDocument/2006/relationships/oleObject" Target="../embeddings/oleObject27.bin"/><Relationship Id="rId9" Type="http://schemas.openxmlformats.org/officeDocument/2006/relationships/chart" Target="../charts/chart38.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chart" Target="../charts/chart392.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3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394.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chart" Target="../charts/chart39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398.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7" Type="http://schemas.openxmlformats.org/officeDocument/2006/relationships/chart" Target="../charts/chart400.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chart" Target="../charts/chart402.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7" Type="http://schemas.openxmlformats.org/officeDocument/2006/relationships/chart" Target="../charts/chart404.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4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chart" Target="../charts/chart406.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4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7" Type="http://schemas.openxmlformats.org/officeDocument/2006/relationships/chart" Target="../charts/chart4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4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chart" Target="../charts/chart410.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chart" Target="../charts/chart412.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4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chart" Target="../charts/chart414.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4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chart" Target="../charts/chart416.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4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7" Type="http://schemas.openxmlformats.org/officeDocument/2006/relationships/chart" Target="../charts/chart418.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7" Type="http://schemas.openxmlformats.org/officeDocument/2006/relationships/chart" Target="../charts/chart420.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4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chart" Target="../charts/chart422.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4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7" Type="http://schemas.openxmlformats.org/officeDocument/2006/relationships/chart" Target="../charts/chart424.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4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7" Type="http://schemas.openxmlformats.org/officeDocument/2006/relationships/chart" Target="../charts/chart426.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7" Type="http://schemas.openxmlformats.org/officeDocument/2006/relationships/chart" Target="../charts/chart42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4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chart" Target="../charts/chart430.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4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notesSlide" Target="../notesSlides/notesSlide1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43.xml"/><Relationship Id="rId11" Type="http://schemas.openxmlformats.org/officeDocument/2006/relationships/chart" Target="../charts/chart48.xml"/><Relationship Id="rId5" Type="http://schemas.openxmlformats.org/officeDocument/2006/relationships/image" Target="../media/image28.emf"/><Relationship Id="rId10" Type="http://schemas.openxmlformats.org/officeDocument/2006/relationships/chart" Target="../charts/chart47.xml"/><Relationship Id="rId4" Type="http://schemas.openxmlformats.org/officeDocument/2006/relationships/oleObject" Target="../embeddings/oleObject27.bin"/><Relationship Id="rId9" Type="http://schemas.openxmlformats.org/officeDocument/2006/relationships/chart" Target="../charts/chart46.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7" Type="http://schemas.openxmlformats.org/officeDocument/2006/relationships/chart" Target="../charts/chart43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4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7" Type="http://schemas.openxmlformats.org/officeDocument/2006/relationships/chart" Target="../charts/chart434.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7" Type="http://schemas.openxmlformats.org/officeDocument/2006/relationships/chart" Target="../charts/chart436.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4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7" Type="http://schemas.openxmlformats.org/officeDocument/2006/relationships/chart" Target="../charts/chart438.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4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7" Type="http://schemas.openxmlformats.org/officeDocument/2006/relationships/chart" Target="../charts/chart440.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4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chart" Target="../charts/chart442.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7" Type="http://schemas.openxmlformats.org/officeDocument/2006/relationships/chart" Target="../charts/chart444.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4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7" Type="http://schemas.openxmlformats.org/officeDocument/2006/relationships/chart" Target="../charts/chart446.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4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7" Type="http://schemas.openxmlformats.org/officeDocument/2006/relationships/chart" Target="../charts/chart44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4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7" Type="http://schemas.openxmlformats.org/officeDocument/2006/relationships/chart" Target="../charts/chart450.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7" Type="http://schemas.openxmlformats.org/officeDocument/2006/relationships/chart" Target="../charts/chart45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4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7" Type="http://schemas.openxmlformats.org/officeDocument/2006/relationships/chart" Target="../charts/chart454.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4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7" Type="http://schemas.openxmlformats.org/officeDocument/2006/relationships/chart" Target="../charts/chart456.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4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7" Type="http://schemas.openxmlformats.org/officeDocument/2006/relationships/chart" Target="../charts/chart458.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7" Type="http://schemas.openxmlformats.org/officeDocument/2006/relationships/chart" Target="../charts/chart460.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4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7" Type="http://schemas.openxmlformats.org/officeDocument/2006/relationships/chart" Target="../charts/chart462.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4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7" Type="http://schemas.openxmlformats.org/officeDocument/2006/relationships/chart" Target="../charts/chart464.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7" Type="http://schemas.openxmlformats.org/officeDocument/2006/relationships/chart" Target="../charts/chart466.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7" Type="http://schemas.openxmlformats.org/officeDocument/2006/relationships/chart" Target="../charts/chart46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chart" Target="../charts/chart470.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4.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51.xml"/><Relationship Id="rId11" Type="http://schemas.openxmlformats.org/officeDocument/2006/relationships/chart" Target="../charts/chart56.xml"/><Relationship Id="rId5" Type="http://schemas.openxmlformats.org/officeDocument/2006/relationships/image" Target="../media/image28.emf"/><Relationship Id="rId10" Type="http://schemas.openxmlformats.org/officeDocument/2006/relationships/chart" Target="../charts/chart55.xml"/><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7" Type="http://schemas.openxmlformats.org/officeDocument/2006/relationships/chart" Target="../charts/chart472.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chart" Target="../charts/chart474.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7" Type="http://schemas.openxmlformats.org/officeDocument/2006/relationships/chart" Target="../charts/chart476.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7" Type="http://schemas.openxmlformats.org/officeDocument/2006/relationships/chart" Target="../charts/chart478.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7" Type="http://schemas.openxmlformats.org/officeDocument/2006/relationships/chart" Target="../charts/chart480.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7" Type="http://schemas.openxmlformats.org/officeDocument/2006/relationships/chart" Target="../charts/chart482.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7" Type="http://schemas.openxmlformats.org/officeDocument/2006/relationships/chart" Target="../charts/chart484.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7" Type="http://schemas.openxmlformats.org/officeDocument/2006/relationships/chart" Target="../charts/chart486.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7" Type="http://schemas.openxmlformats.org/officeDocument/2006/relationships/chart" Target="../charts/chart48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7" Type="http://schemas.openxmlformats.org/officeDocument/2006/relationships/chart" Target="../charts/chart490.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7" Type="http://schemas.openxmlformats.org/officeDocument/2006/relationships/chart" Target="../charts/chart492.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chart" Target="../charts/chart494.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7" Type="http://schemas.openxmlformats.org/officeDocument/2006/relationships/chart" Target="../charts/chart496.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7" Type="http://schemas.openxmlformats.org/officeDocument/2006/relationships/chart" Target="../charts/chart498.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54.xml"/><Relationship Id="rId7" Type="http://schemas.openxmlformats.org/officeDocument/2006/relationships/chart" Target="../charts/chart500.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7" Type="http://schemas.openxmlformats.org/officeDocument/2006/relationships/chart" Target="../charts/chart502.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7" Type="http://schemas.openxmlformats.org/officeDocument/2006/relationships/chart" Target="../charts/chart504.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chart" Target="../charts/chart506.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7" Type="http://schemas.openxmlformats.org/officeDocument/2006/relationships/chart" Target="../charts/chart508.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7" Type="http://schemas.openxmlformats.org/officeDocument/2006/relationships/chart" Target="../charts/chart510.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16.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59.xml"/><Relationship Id="rId11" Type="http://schemas.openxmlformats.org/officeDocument/2006/relationships/chart" Target="../charts/chart64.xml"/><Relationship Id="rId5" Type="http://schemas.openxmlformats.org/officeDocument/2006/relationships/image" Target="../media/image28.emf"/><Relationship Id="rId10" Type="http://schemas.openxmlformats.org/officeDocument/2006/relationships/chart" Target="../charts/chart63.xml"/><Relationship Id="rId4" Type="http://schemas.openxmlformats.org/officeDocument/2006/relationships/oleObject" Target="../embeddings/oleObject27.bin"/><Relationship Id="rId9" Type="http://schemas.openxmlformats.org/officeDocument/2006/relationships/chart" Target="../charts/chart62.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7" Type="http://schemas.openxmlformats.org/officeDocument/2006/relationships/chart" Target="../charts/chart512.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7" Type="http://schemas.openxmlformats.org/officeDocument/2006/relationships/chart" Target="../charts/chart514.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7" Type="http://schemas.openxmlformats.org/officeDocument/2006/relationships/chart" Target="../charts/chart516.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7" Type="http://schemas.openxmlformats.org/officeDocument/2006/relationships/chart" Target="../charts/chart518.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7" Type="http://schemas.openxmlformats.org/officeDocument/2006/relationships/chart" Target="../charts/chart520.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7" Type="http://schemas.openxmlformats.org/officeDocument/2006/relationships/chart" Target="../charts/chart522.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5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7" Type="http://schemas.openxmlformats.org/officeDocument/2006/relationships/chart" Target="../charts/chart524.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5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7" Type="http://schemas.openxmlformats.org/officeDocument/2006/relationships/chart" Target="../charts/chart526.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5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7" Type="http://schemas.openxmlformats.org/officeDocument/2006/relationships/chart" Target="../charts/chart52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5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7" Type="http://schemas.openxmlformats.org/officeDocument/2006/relationships/chart" Target="../charts/chart530.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5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7" Type="http://schemas.openxmlformats.org/officeDocument/2006/relationships/chart" Target="../charts/chart532.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5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7" Type="http://schemas.openxmlformats.org/officeDocument/2006/relationships/chart" Target="../charts/chart534.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5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7" Type="http://schemas.openxmlformats.org/officeDocument/2006/relationships/chart" Target="../charts/chart536.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5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7" Type="http://schemas.openxmlformats.org/officeDocument/2006/relationships/chart" Target="../charts/chart538.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5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7" Type="http://schemas.openxmlformats.org/officeDocument/2006/relationships/chart" Target="../charts/chart54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5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7" Type="http://schemas.openxmlformats.org/officeDocument/2006/relationships/chart" Target="../charts/chart542.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5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76.xml"/><Relationship Id="rId7" Type="http://schemas.openxmlformats.org/officeDocument/2006/relationships/chart" Target="../charts/chart544.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5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7" Type="http://schemas.openxmlformats.org/officeDocument/2006/relationships/chart" Target="../charts/chart546.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5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7" Type="http://schemas.openxmlformats.org/officeDocument/2006/relationships/chart" Target="../charts/chart54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5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7" Type="http://schemas.openxmlformats.org/officeDocument/2006/relationships/chart" Target="../charts/chart550.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5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notesSlide" Target="../notesSlides/notesSlide18.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7" Type="http://schemas.openxmlformats.org/officeDocument/2006/relationships/chart" Target="../charts/chart552.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5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7" Type="http://schemas.openxmlformats.org/officeDocument/2006/relationships/chart" Target="../charts/chart554.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5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7" Type="http://schemas.openxmlformats.org/officeDocument/2006/relationships/chart" Target="../charts/chart55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5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7" Type="http://schemas.openxmlformats.org/officeDocument/2006/relationships/chart" Target="../charts/chart558.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5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7" Type="http://schemas.openxmlformats.org/officeDocument/2006/relationships/chart" Target="../charts/chart560.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5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chart" Target="../charts/chart562.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5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7" Type="http://schemas.openxmlformats.org/officeDocument/2006/relationships/chart" Target="../charts/chart564.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5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7" Type="http://schemas.openxmlformats.org/officeDocument/2006/relationships/chart" Target="../charts/chart566.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5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7" Type="http://schemas.openxmlformats.org/officeDocument/2006/relationships/chart" Target="../charts/chart56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5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7" Type="http://schemas.openxmlformats.org/officeDocument/2006/relationships/chart" Target="../charts/chart570.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5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7" Type="http://schemas.openxmlformats.org/officeDocument/2006/relationships/chart" Target="../charts/chart572.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5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7" Type="http://schemas.openxmlformats.org/officeDocument/2006/relationships/chart" Target="../charts/chart574.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5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7" Type="http://schemas.openxmlformats.org/officeDocument/2006/relationships/chart" Target="../charts/chart57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5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11" Type="http://schemas.openxmlformats.org/officeDocument/2006/relationships/chart" Target="../charts/chart8.xml"/><Relationship Id="rId5" Type="http://schemas.openxmlformats.org/officeDocument/2006/relationships/image" Target="../media/image28.emf"/><Relationship Id="rId10" Type="http://schemas.openxmlformats.org/officeDocument/2006/relationships/chart" Target="../charts/chart7.xml"/><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0.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75.xml"/><Relationship Id="rId11" Type="http://schemas.openxmlformats.org/officeDocument/2006/relationships/chart" Target="../charts/chart80.xml"/><Relationship Id="rId5" Type="http://schemas.openxmlformats.org/officeDocument/2006/relationships/image" Target="../media/image28.emf"/><Relationship Id="rId10" Type="http://schemas.openxmlformats.org/officeDocument/2006/relationships/chart" Target="../charts/chart79.xml"/><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85.xml"/><Relationship Id="rId3" Type="http://schemas.openxmlformats.org/officeDocument/2006/relationships/notesSlide" Target="../notesSlides/notesSlide22.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83.xml"/><Relationship Id="rId11" Type="http://schemas.openxmlformats.org/officeDocument/2006/relationships/chart" Target="../charts/chart88.xml"/><Relationship Id="rId5" Type="http://schemas.openxmlformats.org/officeDocument/2006/relationships/image" Target="../media/image28.emf"/><Relationship Id="rId10" Type="http://schemas.openxmlformats.org/officeDocument/2006/relationships/chart" Target="../charts/chart87.xml"/><Relationship Id="rId4" Type="http://schemas.openxmlformats.org/officeDocument/2006/relationships/oleObject" Target="../embeddings/oleObject27.bin"/><Relationship Id="rId9" Type="http://schemas.openxmlformats.org/officeDocument/2006/relationships/chart" Target="../charts/chart8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93.xml"/><Relationship Id="rId3" Type="http://schemas.openxmlformats.org/officeDocument/2006/relationships/notesSlide" Target="../notesSlides/notesSlide24.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91.xml"/><Relationship Id="rId11" Type="http://schemas.openxmlformats.org/officeDocument/2006/relationships/chart" Target="../charts/chart96.xml"/><Relationship Id="rId5" Type="http://schemas.openxmlformats.org/officeDocument/2006/relationships/image" Target="../media/image28.emf"/><Relationship Id="rId10" Type="http://schemas.openxmlformats.org/officeDocument/2006/relationships/chart" Target="../charts/chart95.xml"/><Relationship Id="rId4" Type="http://schemas.openxmlformats.org/officeDocument/2006/relationships/oleObject" Target="../embeddings/oleObject27.bin"/><Relationship Id="rId9" Type="http://schemas.openxmlformats.org/officeDocument/2006/relationships/chart" Target="../charts/chart9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26.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99.xml"/><Relationship Id="rId11" Type="http://schemas.openxmlformats.org/officeDocument/2006/relationships/chart" Target="../charts/chart104.xml"/><Relationship Id="rId5" Type="http://schemas.openxmlformats.org/officeDocument/2006/relationships/image" Target="../media/image28.emf"/><Relationship Id="rId10" Type="http://schemas.openxmlformats.org/officeDocument/2006/relationships/chart" Target="../charts/chart103.xml"/><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109.xml"/><Relationship Id="rId3" Type="http://schemas.openxmlformats.org/officeDocument/2006/relationships/notesSlide" Target="../notesSlides/notesSlide28.xml"/><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107.xml"/><Relationship Id="rId11" Type="http://schemas.openxmlformats.org/officeDocument/2006/relationships/chart" Target="../charts/chart112.xml"/><Relationship Id="rId5" Type="http://schemas.openxmlformats.org/officeDocument/2006/relationships/image" Target="../media/image28.emf"/><Relationship Id="rId10" Type="http://schemas.openxmlformats.org/officeDocument/2006/relationships/chart" Target="../charts/chart111.xml"/><Relationship Id="rId4" Type="http://schemas.openxmlformats.org/officeDocument/2006/relationships/oleObject" Target="../embeddings/oleObject27.bin"/><Relationship Id="rId9" Type="http://schemas.openxmlformats.org/officeDocument/2006/relationships/chart" Target="../charts/chart11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117.xml"/><Relationship Id="rId3" Type="http://schemas.openxmlformats.org/officeDocument/2006/relationships/notesSlide" Target="../notesSlides/notesSlide30.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115.xml"/><Relationship Id="rId11" Type="http://schemas.openxmlformats.org/officeDocument/2006/relationships/chart" Target="../charts/chart120.xml"/><Relationship Id="rId5" Type="http://schemas.openxmlformats.org/officeDocument/2006/relationships/image" Target="../media/image28.emf"/><Relationship Id="rId10" Type="http://schemas.openxmlformats.org/officeDocument/2006/relationships/chart" Target="../charts/chart119.xml"/><Relationship Id="rId4" Type="http://schemas.openxmlformats.org/officeDocument/2006/relationships/oleObject" Target="../embeddings/oleObject27.bin"/><Relationship Id="rId9" Type="http://schemas.openxmlformats.org/officeDocument/2006/relationships/chart" Target="../charts/chart11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3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23.xml"/><Relationship Id="rId11" Type="http://schemas.openxmlformats.org/officeDocument/2006/relationships/chart" Target="../charts/chart128.xml"/><Relationship Id="rId5" Type="http://schemas.openxmlformats.org/officeDocument/2006/relationships/image" Target="../media/image28.emf"/><Relationship Id="rId10" Type="http://schemas.openxmlformats.org/officeDocument/2006/relationships/chart" Target="../charts/chart127.xml"/><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33.xml"/><Relationship Id="rId3" Type="http://schemas.openxmlformats.org/officeDocument/2006/relationships/notesSlide" Target="../notesSlides/notesSlide34.xml"/><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31.xml"/><Relationship Id="rId11" Type="http://schemas.openxmlformats.org/officeDocument/2006/relationships/chart" Target="../charts/chart136.xml"/><Relationship Id="rId5" Type="http://schemas.openxmlformats.org/officeDocument/2006/relationships/image" Target="../media/image28.emf"/><Relationship Id="rId10" Type="http://schemas.openxmlformats.org/officeDocument/2006/relationships/chart" Target="../charts/chart135.xml"/><Relationship Id="rId4" Type="http://schemas.openxmlformats.org/officeDocument/2006/relationships/oleObject" Target="../embeddings/oleObject27.bin"/><Relationship Id="rId9" Type="http://schemas.openxmlformats.org/officeDocument/2006/relationships/chart" Target="../charts/chart1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notesSlide" Target="../notesSlides/notesSlide36.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39.xml"/><Relationship Id="rId11" Type="http://schemas.openxmlformats.org/officeDocument/2006/relationships/chart" Target="../charts/chart144.xml"/><Relationship Id="rId5" Type="http://schemas.openxmlformats.org/officeDocument/2006/relationships/image" Target="../media/image28.emf"/><Relationship Id="rId10" Type="http://schemas.openxmlformats.org/officeDocument/2006/relationships/chart" Target="../charts/chart143.xml"/><Relationship Id="rId4" Type="http://schemas.openxmlformats.org/officeDocument/2006/relationships/oleObject" Target="../embeddings/oleObject27.bin"/><Relationship Id="rId9" Type="http://schemas.openxmlformats.org/officeDocument/2006/relationships/chart" Target="../charts/chart14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38.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47.xml"/><Relationship Id="rId11" Type="http://schemas.openxmlformats.org/officeDocument/2006/relationships/chart" Target="../charts/chart152.xml"/><Relationship Id="rId5" Type="http://schemas.openxmlformats.org/officeDocument/2006/relationships/image" Target="../media/image28.emf"/><Relationship Id="rId10" Type="http://schemas.openxmlformats.org/officeDocument/2006/relationships/chart" Target="../charts/chart151.xml"/><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4.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11" Type="http://schemas.openxmlformats.org/officeDocument/2006/relationships/chart" Target="../charts/chart16.xml"/><Relationship Id="rId5" Type="http://schemas.openxmlformats.org/officeDocument/2006/relationships/image" Target="../media/image28.emf"/><Relationship Id="rId10" Type="http://schemas.openxmlformats.org/officeDocument/2006/relationships/chart" Target="../charts/chart15.xml"/><Relationship Id="rId4" Type="http://schemas.openxmlformats.org/officeDocument/2006/relationships/oleObject" Target="../embeddings/oleObject27.bin"/><Relationship Id="rId9" Type="http://schemas.openxmlformats.org/officeDocument/2006/relationships/chart" Target="../charts/chart14.xml"/></Relationships>
</file>

<file path=ppt/slides/_rels/slide40.xml.rels><?xml version="1.0" encoding="UTF-8" standalone="yes"?>
<Relationships xmlns="http://schemas.openxmlformats.org/package/2006/relationships"><Relationship Id="rId8" Type="http://schemas.openxmlformats.org/officeDocument/2006/relationships/chart" Target="../charts/chart157.xml"/><Relationship Id="rId3" Type="http://schemas.openxmlformats.org/officeDocument/2006/relationships/notesSlide" Target="../notesSlides/notesSlide40.xml"/><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65.xml"/><Relationship Id="rId3" Type="http://schemas.openxmlformats.org/officeDocument/2006/relationships/notesSlide" Target="../notesSlides/notesSlide42.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63.xml"/><Relationship Id="rId11" Type="http://schemas.openxmlformats.org/officeDocument/2006/relationships/chart" Target="../charts/chart168.xml"/><Relationship Id="rId5" Type="http://schemas.openxmlformats.org/officeDocument/2006/relationships/image" Target="../media/image28.emf"/><Relationship Id="rId10" Type="http://schemas.openxmlformats.org/officeDocument/2006/relationships/chart" Target="../charts/chart167.xml"/><Relationship Id="rId4" Type="http://schemas.openxmlformats.org/officeDocument/2006/relationships/oleObject" Target="../embeddings/oleObject27.bin"/><Relationship Id="rId9" Type="http://schemas.openxmlformats.org/officeDocument/2006/relationships/chart" Target="../charts/chart16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44.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71.xml"/><Relationship Id="rId11" Type="http://schemas.openxmlformats.org/officeDocument/2006/relationships/chart" Target="../charts/chart176.xml"/><Relationship Id="rId5" Type="http://schemas.openxmlformats.org/officeDocument/2006/relationships/image" Target="../media/image28.emf"/><Relationship Id="rId10" Type="http://schemas.openxmlformats.org/officeDocument/2006/relationships/chart" Target="../charts/chart175.xml"/><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81.xml"/><Relationship Id="rId3" Type="http://schemas.openxmlformats.org/officeDocument/2006/relationships/notesSlide" Target="../notesSlides/notesSlide46.xml"/><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79.xml"/><Relationship Id="rId11" Type="http://schemas.openxmlformats.org/officeDocument/2006/relationships/chart" Target="../charts/chart184.xml"/><Relationship Id="rId5" Type="http://schemas.openxmlformats.org/officeDocument/2006/relationships/image" Target="../media/image28.emf"/><Relationship Id="rId10" Type="http://schemas.openxmlformats.org/officeDocument/2006/relationships/chart" Target="../charts/chart183.xml"/><Relationship Id="rId4" Type="http://schemas.openxmlformats.org/officeDocument/2006/relationships/oleObject" Target="../embeddings/oleObject27.bin"/><Relationship Id="rId9" Type="http://schemas.openxmlformats.org/officeDocument/2006/relationships/chart" Target="../charts/chart18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notesSlide" Target="../notesSlides/notesSlide48.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87.xml"/><Relationship Id="rId11" Type="http://schemas.openxmlformats.org/officeDocument/2006/relationships/chart" Target="../charts/chart192.xml"/><Relationship Id="rId5" Type="http://schemas.openxmlformats.org/officeDocument/2006/relationships/image" Target="../media/image28.emf"/><Relationship Id="rId10" Type="http://schemas.openxmlformats.org/officeDocument/2006/relationships/chart" Target="../charts/chart191.xml"/><Relationship Id="rId4" Type="http://schemas.openxmlformats.org/officeDocument/2006/relationships/oleObject" Target="../embeddings/oleObject27.bin"/><Relationship Id="rId9" Type="http://schemas.openxmlformats.org/officeDocument/2006/relationships/chart" Target="../charts/chart19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50.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95.xml"/><Relationship Id="rId11" Type="http://schemas.openxmlformats.org/officeDocument/2006/relationships/chart" Target="../charts/chart200.xml"/><Relationship Id="rId5" Type="http://schemas.openxmlformats.org/officeDocument/2006/relationships/image" Target="../media/image28.emf"/><Relationship Id="rId10" Type="http://schemas.openxmlformats.org/officeDocument/2006/relationships/chart" Target="../charts/chart199.xml"/><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20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205.xml"/><Relationship Id="rId3" Type="http://schemas.openxmlformats.org/officeDocument/2006/relationships/notesSlide" Target="../notesSlides/notesSlide52.xml"/><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203.xml"/><Relationship Id="rId11" Type="http://schemas.openxmlformats.org/officeDocument/2006/relationships/chart" Target="../charts/chart208.xml"/><Relationship Id="rId5" Type="http://schemas.openxmlformats.org/officeDocument/2006/relationships/image" Target="../media/image28.emf"/><Relationship Id="rId10" Type="http://schemas.openxmlformats.org/officeDocument/2006/relationships/chart" Target="../charts/chart207.xml"/><Relationship Id="rId4" Type="http://schemas.openxmlformats.org/officeDocument/2006/relationships/oleObject" Target="../embeddings/oleObject27.bin"/><Relationship Id="rId9" Type="http://schemas.openxmlformats.org/officeDocument/2006/relationships/chart" Target="../charts/chart20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213.xml"/><Relationship Id="rId3" Type="http://schemas.openxmlformats.org/officeDocument/2006/relationships/notesSlide" Target="../notesSlides/notesSlide54.xml"/><Relationship Id="rId7" Type="http://schemas.openxmlformats.org/officeDocument/2006/relationships/chart" Target="../charts/chart21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211.xml"/><Relationship Id="rId11" Type="http://schemas.openxmlformats.org/officeDocument/2006/relationships/chart" Target="../charts/chart216.xml"/><Relationship Id="rId5" Type="http://schemas.openxmlformats.org/officeDocument/2006/relationships/image" Target="../media/image28.emf"/><Relationship Id="rId10" Type="http://schemas.openxmlformats.org/officeDocument/2006/relationships/chart" Target="../charts/chart215.xml"/><Relationship Id="rId4" Type="http://schemas.openxmlformats.org/officeDocument/2006/relationships/oleObject" Target="../embeddings/oleObject27.bin"/><Relationship Id="rId9" Type="http://schemas.openxmlformats.org/officeDocument/2006/relationships/chart" Target="../charts/chart21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21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221.xml"/><Relationship Id="rId3" Type="http://schemas.openxmlformats.org/officeDocument/2006/relationships/notesSlide" Target="../notesSlides/notesSlide56.xml"/><Relationship Id="rId7" Type="http://schemas.openxmlformats.org/officeDocument/2006/relationships/chart" Target="../charts/chart220.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219.xml"/><Relationship Id="rId11" Type="http://schemas.openxmlformats.org/officeDocument/2006/relationships/chart" Target="../charts/chart224.xml"/><Relationship Id="rId5" Type="http://schemas.openxmlformats.org/officeDocument/2006/relationships/image" Target="../media/image28.emf"/><Relationship Id="rId10" Type="http://schemas.openxmlformats.org/officeDocument/2006/relationships/chart" Target="../charts/chart223.xml"/><Relationship Id="rId4" Type="http://schemas.openxmlformats.org/officeDocument/2006/relationships/oleObject" Target="../embeddings/oleObject27.bin"/><Relationship Id="rId9" Type="http://schemas.openxmlformats.org/officeDocument/2006/relationships/chart" Target="../charts/chart22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226.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notesSlide" Target="../notesSlides/notesSlide58.xml"/><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227.xml"/><Relationship Id="rId11" Type="http://schemas.openxmlformats.org/officeDocument/2006/relationships/chart" Target="../charts/chart232.xml"/><Relationship Id="rId5" Type="http://schemas.openxmlformats.org/officeDocument/2006/relationships/image" Target="../media/image28.emf"/><Relationship Id="rId10" Type="http://schemas.openxmlformats.org/officeDocument/2006/relationships/chart" Target="../charts/chart231.xml"/><Relationship Id="rId4" Type="http://schemas.openxmlformats.org/officeDocument/2006/relationships/oleObject" Target="../embeddings/oleObject27.bin"/><Relationship Id="rId9" Type="http://schemas.openxmlformats.org/officeDocument/2006/relationships/chart" Target="../charts/chart23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6.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image" Target="../media/image28.emf"/><Relationship Id="rId10" Type="http://schemas.openxmlformats.org/officeDocument/2006/relationships/chart" Target="../charts/chart23.xml"/><Relationship Id="rId4" Type="http://schemas.openxmlformats.org/officeDocument/2006/relationships/oleObject" Target="../embeddings/oleObject27.bin"/><Relationship Id="rId9" Type="http://schemas.openxmlformats.org/officeDocument/2006/relationships/chart" Target="../charts/chart22.xml"/></Relationships>
</file>

<file path=ppt/slides/_rels/slide60.xml.rels><?xml version="1.0" encoding="UTF-8" standalone="yes"?>
<Relationships xmlns="http://schemas.openxmlformats.org/package/2006/relationships"><Relationship Id="rId8" Type="http://schemas.openxmlformats.org/officeDocument/2006/relationships/chart" Target="../charts/chart237.xml"/><Relationship Id="rId3" Type="http://schemas.openxmlformats.org/officeDocument/2006/relationships/notesSlide" Target="../notesSlides/notesSlide60.xml"/><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235.xml"/><Relationship Id="rId11" Type="http://schemas.openxmlformats.org/officeDocument/2006/relationships/chart" Target="../charts/chart240.xml"/><Relationship Id="rId5" Type="http://schemas.openxmlformats.org/officeDocument/2006/relationships/image" Target="../media/image28.emf"/><Relationship Id="rId10" Type="http://schemas.openxmlformats.org/officeDocument/2006/relationships/chart" Target="../charts/chart239.xml"/><Relationship Id="rId4" Type="http://schemas.openxmlformats.org/officeDocument/2006/relationships/oleObject" Target="../embeddings/oleObject27.bin"/><Relationship Id="rId9" Type="http://schemas.openxmlformats.org/officeDocument/2006/relationships/chart" Target="../charts/chart23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24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245.xml"/><Relationship Id="rId3" Type="http://schemas.openxmlformats.org/officeDocument/2006/relationships/notesSlide" Target="../notesSlides/notesSlide62.xml"/><Relationship Id="rId7" Type="http://schemas.openxmlformats.org/officeDocument/2006/relationships/chart" Target="../charts/chart24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253.xml"/><Relationship Id="rId3" Type="http://schemas.openxmlformats.org/officeDocument/2006/relationships/notesSlide" Target="../notesSlides/notesSlide64.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251.xml"/><Relationship Id="rId11" Type="http://schemas.openxmlformats.org/officeDocument/2006/relationships/chart" Target="../charts/chart256.xml"/><Relationship Id="rId5" Type="http://schemas.openxmlformats.org/officeDocument/2006/relationships/image" Target="../media/image28.emf"/><Relationship Id="rId10" Type="http://schemas.openxmlformats.org/officeDocument/2006/relationships/chart" Target="../charts/chart255.xml"/><Relationship Id="rId4" Type="http://schemas.openxmlformats.org/officeDocument/2006/relationships/oleObject" Target="../embeddings/oleObject27.bin"/><Relationship Id="rId9" Type="http://schemas.openxmlformats.org/officeDocument/2006/relationships/chart" Target="../charts/chart25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261.xml"/><Relationship Id="rId3" Type="http://schemas.openxmlformats.org/officeDocument/2006/relationships/notesSlide" Target="../notesSlides/notesSlide66.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259.xml"/><Relationship Id="rId11" Type="http://schemas.openxmlformats.org/officeDocument/2006/relationships/chart" Target="../charts/chart264.xml"/><Relationship Id="rId5" Type="http://schemas.openxmlformats.org/officeDocument/2006/relationships/image" Target="../media/image28.emf"/><Relationship Id="rId10" Type="http://schemas.openxmlformats.org/officeDocument/2006/relationships/chart" Target="../charts/chart263.xml"/><Relationship Id="rId4" Type="http://schemas.openxmlformats.org/officeDocument/2006/relationships/oleObject" Target="../embeddings/oleObject27.bin"/><Relationship Id="rId9" Type="http://schemas.openxmlformats.org/officeDocument/2006/relationships/chart" Target="../charts/chart2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8" Type="http://schemas.openxmlformats.org/officeDocument/2006/relationships/chart" Target="../charts/chart269.xml"/><Relationship Id="rId3" Type="http://schemas.openxmlformats.org/officeDocument/2006/relationships/notesSlide" Target="../notesSlides/notesSlide68.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67.xml"/><Relationship Id="rId11" Type="http://schemas.openxmlformats.org/officeDocument/2006/relationships/chart" Target="../charts/chart272.xml"/><Relationship Id="rId5" Type="http://schemas.openxmlformats.org/officeDocument/2006/relationships/image" Target="../media/image28.emf"/><Relationship Id="rId10" Type="http://schemas.openxmlformats.org/officeDocument/2006/relationships/chart" Target="../charts/chart271.xml"/><Relationship Id="rId4" Type="http://schemas.openxmlformats.org/officeDocument/2006/relationships/oleObject" Target="../embeddings/oleObject27.bin"/><Relationship Id="rId9" Type="http://schemas.openxmlformats.org/officeDocument/2006/relationships/chart" Target="../charts/chart2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274.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70.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75.xml"/><Relationship Id="rId11" Type="http://schemas.openxmlformats.org/officeDocument/2006/relationships/chart" Target="../charts/chart280.xml"/><Relationship Id="rId5" Type="http://schemas.openxmlformats.org/officeDocument/2006/relationships/image" Target="../media/image28.emf"/><Relationship Id="rId10" Type="http://schemas.openxmlformats.org/officeDocument/2006/relationships/chart" Target="../charts/chart279.xml"/><Relationship Id="rId4" Type="http://schemas.openxmlformats.org/officeDocument/2006/relationships/oleObject" Target="../embeddings/oleObject27.bin"/><Relationship Id="rId9" Type="http://schemas.openxmlformats.org/officeDocument/2006/relationships/chart" Target="../charts/chart278.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8" Type="http://schemas.openxmlformats.org/officeDocument/2006/relationships/chart" Target="../charts/chart285.xml"/><Relationship Id="rId3" Type="http://schemas.openxmlformats.org/officeDocument/2006/relationships/notesSlide" Target="../notesSlides/notesSlide72.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83.xml"/><Relationship Id="rId11" Type="http://schemas.openxmlformats.org/officeDocument/2006/relationships/chart" Target="../charts/chart288.xml"/><Relationship Id="rId5" Type="http://schemas.openxmlformats.org/officeDocument/2006/relationships/image" Target="../media/image28.emf"/><Relationship Id="rId10" Type="http://schemas.openxmlformats.org/officeDocument/2006/relationships/chart" Target="../charts/chart287.xml"/><Relationship Id="rId4" Type="http://schemas.openxmlformats.org/officeDocument/2006/relationships/oleObject" Target="../embeddings/oleObject27.bin"/><Relationship Id="rId9" Type="http://schemas.openxmlformats.org/officeDocument/2006/relationships/chart" Target="../charts/chart286.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8" Type="http://schemas.openxmlformats.org/officeDocument/2006/relationships/chart" Target="../charts/chart293.xml"/><Relationship Id="rId3" Type="http://schemas.openxmlformats.org/officeDocument/2006/relationships/notesSlide" Target="../notesSlides/notesSlide74.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91.xml"/><Relationship Id="rId11" Type="http://schemas.openxmlformats.org/officeDocument/2006/relationships/chart" Target="../charts/chart296.xml"/><Relationship Id="rId5" Type="http://schemas.openxmlformats.org/officeDocument/2006/relationships/image" Target="../media/image28.emf"/><Relationship Id="rId10" Type="http://schemas.openxmlformats.org/officeDocument/2006/relationships/chart" Target="../charts/chart295.xml"/><Relationship Id="rId4" Type="http://schemas.openxmlformats.org/officeDocument/2006/relationships/oleObject" Target="../embeddings/oleObject27.bin"/><Relationship Id="rId9" Type="http://schemas.openxmlformats.org/officeDocument/2006/relationships/chart" Target="../charts/chart29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8" Type="http://schemas.openxmlformats.org/officeDocument/2006/relationships/chart" Target="../charts/chart301.xml"/><Relationship Id="rId3" Type="http://schemas.openxmlformats.org/officeDocument/2006/relationships/notesSlide" Target="../notesSlides/notesSlide76.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99.xml"/><Relationship Id="rId11" Type="http://schemas.openxmlformats.org/officeDocument/2006/relationships/chart" Target="../charts/chart304.xml"/><Relationship Id="rId5" Type="http://schemas.openxmlformats.org/officeDocument/2006/relationships/image" Target="../media/image28.emf"/><Relationship Id="rId10" Type="http://schemas.openxmlformats.org/officeDocument/2006/relationships/chart" Target="../charts/chart303.xml"/><Relationship Id="rId4" Type="http://schemas.openxmlformats.org/officeDocument/2006/relationships/oleObject" Target="../embeddings/oleObject27.bin"/><Relationship Id="rId9" Type="http://schemas.openxmlformats.org/officeDocument/2006/relationships/chart" Target="../charts/chart30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8" Type="http://schemas.openxmlformats.org/officeDocument/2006/relationships/chart" Target="../charts/chart309.xml"/><Relationship Id="rId3" Type="http://schemas.openxmlformats.org/officeDocument/2006/relationships/notesSlide" Target="../notesSlides/notesSlide78.xml"/><Relationship Id="rId7" Type="http://schemas.openxmlformats.org/officeDocument/2006/relationships/chart" Target="../charts/chart30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307.xml"/><Relationship Id="rId11" Type="http://schemas.openxmlformats.org/officeDocument/2006/relationships/chart" Target="../charts/chart312.xml"/><Relationship Id="rId5" Type="http://schemas.openxmlformats.org/officeDocument/2006/relationships/image" Target="../media/image28.emf"/><Relationship Id="rId10" Type="http://schemas.openxmlformats.org/officeDocument/2006/relationships/chart" Target="../charts/chart311.xml"/><Relationship Id="rId4" Type="http://schemas.openxmlformats.org/officeDocument/2006/relationships/oleObject" Target="../embeddings/oleObject27.bin"/><Relationship Id="rId9" Type="http://schemas.openxmlformats.org/officeDocument/2006/relationships/chart" Target="../charts/chart31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314.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8.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7.xml"/><Relationship Id="rId11" Type="http://schemas.openxmlformats.org/officeDocument/2006/relationships/chart" Target="../charts/chart32.xml"/><Relationship Id="rId5" Type="http://schemas.openxmlformats.org/officeDocument/2006/relationships/image" Target="../media/image28.emf"/><Relationship Id="rId10" Type="http://schemas.openxmlformats.org/officeDocument/2006/relationships/chart" Target="../charts/chart31.xml"/><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80.xml.rels><?xml version="1.0" encoding="UTF-8" standalone="yes"?>
<Relationships xmlns="http://schemas.openxmlformats.org/package/2006/relationships"><Relationship Id="rId8" Type="http://schemas.openxmlformats.org/officeDocument/2006/relationships/chart" Target="../charts/chart317.xml"/><Relationship Id="rId3" Type="http://schemas.openxmlformats.org/officeDocument/2006/relationships/notesSlide" Target="../notesSlides/notesSlide80.xml"/><Relationship Id="rId7" Type="http://schemas.openxmlformats.org/officeDocument/2006/relationships/chart" Target="../charts/chart316.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315.xml"/><Relationship Id="rId11" Type="http://schemas.openxmlformats.org/officeDocument/2006/relationships/chart" Target="../charts/chart320.xml"/><Relationship Id="rId5" Type="http://schemas.openxmlformats.org/officeDocument/2006/relationships/image" Target="../media/image28.emf"/><Relationship Id="rId10" Type="http://schemas.openxmlformats.org/officeDocument/2006/relationships/chart" Target="../charts/chart319.xml"/><Relationship Id="rId4" Type="http://schemas.openxmlformats.org/officeDocument/2006/relationships/oleObject" Target="../embeddings/oleObject27.bin"/><Relationship Id="rId9" Type="http://schemas.openxmlformats.org/officeDocument/2006/relationships/chart" Target="../charts/chart318.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32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8" Type="http://schemas.openxmlformats.org/officeDocument/2006/relationships/chart" Target="../charts/chart325.xml"/><Relationship Id="rId3" Type="http://schemas.openxmlformats.org/officeDocument/2006/relationships/notesSlide" Target="../notesSlides/notesSlide82.xml"/><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323.xml"/><Relationship Id="rId11" Type="http://schemas.openxmlformats.org/officeDocument/2006/relationships/chart" Target="../charts/chart328.xml"/><Relationship Id="rId5" Type="http://schemas.openxmlformats.org/officeDocument/2006/relationships/image" Target="../media/image28.emf"/><Relationship Id="rId10" Type="http://schemas.openxmlformats.org/officeDocument/2006/relationships/chart" Target="../charts/chart327.xml"/><Relationship Id="rId4" Type="http://schemas.openxmlformats.org/officeDocument/2006/relationships/oleObject" Target="../embeddings/oleObject27.bin"/><Relationship Id="rId9" Type="http://schemas.openxmlformats.org/officeDocument/2006/relationships/chart" Target="../charts/chart326.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8" Type="http://schemas.openxmlformats.org/officeDocument/2006/relationships/chart" Target="../charts/chart333.xml"/><Relationship Id="rId3" Type="http://schemas.openxmlformats.org/officeDocument/2006/relationships/notesSlide" Target="../notesSlides/notesSlide84.xml"/><Relationship Id="rId7" Type="http://schemas.openxmlformats.org/officeDocument/2006/relationships/chart" Target="../charts/chart33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331.xml"/><Relationship Id="rId11" Type="http://schemas.openxmlformats.org/officeDocument/2006/relationships/chart" Target="../charts/chart336.xml"/><Relationship Id="rId5" Type="http://schemas.openxmlformats.org/officeDocument/2006/relationships/image" Target="../media/image28.emf"/><Relationship Id="rId10" Type="http://schemas.openxmlformats.org/officeDocument/2006/relationships/chart" Target="../charts/chart335.xml"/><Relationship Id="rId4" Type="http://schemas.openxmlformats.org/officeDocument/2006/relationships/oleObject" Target="../embeddings/oleObject27.bin"/><Relationship Id="rId9" Type="http://schemas.openxmlformats.org/officeDocument/2006/relationships/chart" Target="../charts/chart334.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338.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8" Type="http://schemas.openxmlformats.org/officeDocument/2006/relationships/chart" Target="../charts/chart341.xml"/><Relationship Id="rId3" Type="http://schemas.openxmlformats.org/officeDocument/2006/relationships/notesSlide" Target="../notesSlides/notesSlide86.xml"/><Relationship Id="rId7" Type="http://schemas.openxmlformats.org/officeDocument/2006/relationships/chart" Target="../charts/chart340.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339.xml"/><Relationship Id="rId11" Type="http://schemas.openxmlformats.org/officeDocument/2006/relationships/chart" Target="../charts/chart344.xml"/><Relationship Id="rId5" Type="http://schemas.openxmlformats.org/officeDocument/2006/relationships/image" Target="../media/image28.emf"/><Relationship Id="rId10" Type="http://schemas.openxmlformats.org/officeDocument/2006/relationships/chart" Target="../charts/chart343.xml"/><Relationship Id="rId4" Type="http://schemas.openxmlformats.org/officeDocument/2006/relationships/oleObject" Target="../embeddings/oleObject27.bin"/><Relationship Id="rId9" Type="http://schemas.openxmlformats.org/officeDocument/2006/relationships/chart" Target="../charts/chart34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34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8" Type="http://schemas.openxmlformats.org/officeDocument/2006/relationships/chart" Target="../charts/chart349.xml"/><Relationship Id="rId3" Type="http://schemas.openxmlformats.org/officeDocument/2006/relationships/notesSlide" Target="../notesSlides/notesSlide88.xml"/><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347.xml"/><Relationship Id="rId11" Type="http://schemas.openxmlformats.org/officeDocument/2006/relationships/chart" Target="../charts/chart352.xml"/><Relationship Id="rId5" Type="http://schemas.openxmlformats.org/officeDocument/2006/relationships/image" Target="../media/image28.emf"/><Relationship Id="rId10" Type="http://schemas.openxmlformats.org/officeDocument/2006/relationships/chart" Target="../charts/chart351.xml"/><Relationship Id="rId4" Type="http://schemas.openxmlformats.org/officeDocument/2006/relationships/oleObject" Target="../embeddings/oleObject27.bin"/><Relationship Id="rId9" Type="http://schemas.openxmlformats.org/officeDocument/2006/relationships/chart" Target="../charts/chart35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8" Type="http://schemas.openxmlformats.org/officeDocument/2006/relationships/chart" Target="../charts/chart357.xml"/><Relationship Id="rId3" Type="http://schemas.openxmlformats.org/officeDocument/2006/relationships/notesSlide" Target="../notesSlides/notesSlide90.xml"/><Relationship Id="rId7" Type="http://schemas.openxmlformats.org/officeDocument/2006/relationships/chart" Target="../charts/chart356.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355.xml"/><Relationship Id="rId11" Type="http://schemas.openxmlformats.org/officeDocument/2006/relationships/chart" Target="../charts/chart360.xml"/><Relationship Id="rId5" Type="http://schemas.openxmlformats.org/officeDocument/2006/relationships/image" Target="../media/image28.emf"/><Relationship Id="rId10" Type="http://schemas.openxmlformats.org/officeDocument/2006/relationships/chart" Target="../charts/chart359.xml"/><Relationship Id="rId4" Type="http://schemas.openxmlformats.org/officeDocument/2006/relationships/oleObject" Target="../embeddings/oleObject27.bin"/><Relationship Id="rId9" Type="http://schemas.openxmlformats.org/officeDocument/2006/relationships/chart" Target="../charts/chart358.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36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8" Type="http://schemas.openxmlformats.org/officeDocument/2006/relationships/chart" Target="../charts/chart365.xml"/><Relationship Id="rId3" Type="http://schemas.openxmlformats.org/officeDocument/2006/relationships/notesSlide" Target="../notesSlides/notesSlide92.xml"/><Relationship Id="rId7" Type="http://schemas.openxmlformats.org/officeDocument/2006/relationships/chart" Target="../charts/chart364.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363.xml"/><Relationship Id="rId11" Type="http://schemas.openxmlformats.org/officeDocument/2006/relationships/chart" Target="../charts/chart368.xml"/><Relationship Id="rId5" Type="http://schemas.openxmlformats.org/officeDocument/2006/relationships/image" Target="../media/image28.emf"/><Relationship Id="rId10" Type="http://schemas.openxmlformats.org/officeDocument/2006/relationships/chart" Target="../charts/chart367.xml"/><Relationship Id="rId4" Type="http://schemas.openxmlformats.org/officeDocument/2006/relationships/oleObject" Target="../embeddings/oleObject27.bin"/><Relationship Id="rId9" Type="http://schemas.openxmlformats.org/officeDocument/2006/relationships/chart" Target="../charts/chart366.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37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8" Type="http://schemas.openxmlformats.org/officeDocument/2006/relationships/chart" Target="../charts/chart373.xml"/><Relationship Id="rId3" Type="http://schemas.openxmlformats.org/officeDocument/2006/relationships/notesSlide" Target="../notesSlides/notesSlide94.xml"/><Relationship Id="rId7" Type="http://schemas.openxmlformats.org/officeDocument/2006/relationships/chart" Target="../charts/chart37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371.xml"/><Relationship Id="rId11" Type="http://schemas.openxmlformats.org/officeDocument/2006/relationships/chart" Target="../charts/chart376.xml"/><Relationship Id="rId5" Type="http://schemas.openxmlformats.org/officeDocument/2006/relationships/image" Target="../media/image28.emf"/><Relationship Id="rId10" Type="http://schemas.openxmlformats.org/officeDocument/2006/relationships/chart" Target="../charts/chart375.xml"/><Relationship Id="rId4" Type="http://schemas.openxmlformats.org/officeDocument/2006/relationships/oleObject" Target="../embeddings/oleObject27.bin"/><Relationship Id="rId9" Type="http://schemas.openxmlformats.org/officeDocument/2006/relationships/chart" Target="../charts/chart374.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378.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8" Type="http://schemas.openxmlformats.org/officeDocument/2006/relationships/chart" Target="../charts/chart381.xml"/><Relationship Id="rId3" Type="http://schemas.openxmlformats.org/officeDocument/2006/relationships/notesSlide" Target="../notesSlides/notesSlide96.xml"/><Relationship Id="rId7" Type="http://schemas.openxmlformats.org/officeDocument/2006/relationships/chart" Target="../charts/chart380.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379.xml"/><Relationship Id="rId11" Type="http://schemas.openxmlformats.org/officeDocument/2006/relationships/chart" Target="../charts/chart384.xml"/><Relationship Id="rId5" Type="http://schemas.openxmlformats.org/officeDocument/2006/relationships/image" Target="../media/image28.emf"/><Relationship Id="rId10" Type="http://schemas.openxmlformats.org/officeDocument/2006/relationships/chart" Target="../charts/chart383.xml"/><Relationship Id="rId4" Type="http://schemas.openxmlformats.org/officeDocument/2006/relationships/oleObject" Target="../embeddings/oleObject27.bin"/><Relationship Id="rId9" Type="http://schemas.openxmlformats.org/officeDocument/2006/relationships/chart" Target="../charts/chart382.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386.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38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3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390.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38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716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2610661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70519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74371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16941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60920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59241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4840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349625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9178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48228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8742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015699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743664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28956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34319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33313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968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7192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210396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725173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21128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0584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202381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96729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307483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07456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65780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70794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273532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292748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19044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21289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7323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2010170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232863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60411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37980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13499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4237334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025210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96117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75539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93909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6818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113768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823964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672134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16196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62227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541972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284476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65681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9974997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95148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69525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561906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1121106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021351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39604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00872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915871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441957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51599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642051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390412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1298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0024763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87952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447007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559094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9782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705125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01611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93644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80299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9419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9424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258743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80363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63450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713992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103647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18388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538947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381232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99059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670709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0019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9159264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615757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32970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0006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887313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96775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904261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293282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165987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877614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693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24523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403769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052031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652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622613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65347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960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322212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71253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22333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7233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3323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538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8344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5907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2844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623026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764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2678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9471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2788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77044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545906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54609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58862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5420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299565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097352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77535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664671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0218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77089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5003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64948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78071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559093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6711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5934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281410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3399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7594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2141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343497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2494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416607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75129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14711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1852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6264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850236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2754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96387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784976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15646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46840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522207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39872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069497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1481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92590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83525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716726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418767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37895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148391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91791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43125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54899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069061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85816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047169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049654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96245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24617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5424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46129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50293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34999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40276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8443082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4902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58829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100340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37553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57127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19771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7891586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85191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75666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19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901161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6874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14952</Words>
  <Application>Microsoft Office PowerPoint</Application>
  <PresentationFormat>On-screen Show (16:9)</PresentationFormat>
  <Paragraphs>4146</Paragraphs>
  <Slides>192</Slides>
  <Notes>19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2</vt:i4>
      </vt:variant>
    </vt:vector>
  </HeadingPairs>
  <TitlesOfParts>
    <vt:vector size="20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lpstr>Pack 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1T07:3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